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918" r:id="rId4"/>
    <p:sldMasterId id="2147483971" r:id="rId5"/>
  </p:sldMasterIdLst>
  <p:notesMasterIdLst>
    <p:notesMasterId r:id="rId14"/>
  </p:notesMasterIdLst>
  <p:handoutMasterIdLst>
    <p:handoutMasterId r:id="rId15"/>
  </p:handoutMasterIdLst>
  <p:sldIdLst>
    <p:sldId id="761" r:id="rId6"/>
    <p:sldId id="732" r:id="rId7"/>
    <p:sldId id="806" r:id="rId8"/>
    <p:sldId id="807" r:id="rId9"/>
    <p:sldId id="808" r:id="rId10"/>
    <p:sldId id="812" r:id="rId11"/>
    <p:sldId id="810" r:id="rId12"/>
    <p:sldId id="811" r:id="rId13"/>
  </p:sldIdLst>
  <p:sldSz cx="12193588" cy="6858000"/>
  <p:notesSz cx="6794500" cy="9931400"/>
  <p:embeddedFontLst>
    <p:embeddedFont>
      <p:font typeface="Corbel" panose="020B0503020204020204" pitchFamily="34" charset="0"/>
      <p:regular r:id="rId16"/>
      <p:bold r:id="rId17"/>
      <p:italic r:id="rId18"/>
      <p:boldItalic r:id="rId19"/>
    </p:embeddedFont>
    <p:embeddedFont>
      <p:font typeface="Segoe UI Light" panose="020B0502040204020203" pitchFamily="34" charset="0"/>
      <p:regular r:id="rId20"/>
      <p:bold r:id="rId21"/>
      <p:italic r:id="rId22"/>
    </p:embeddedFont>
  </p:embeddedFont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4070F5-1D75-8DF1-5AAD-2475F241EEDF}" name="Westerman, P.C. (Paula)" initials="PW" userId="S::p.c.westerman@vu.nl::e68b6992-36bc-49ac-ab2a-58d456a06d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5A"/>
    <a:srgbClr val="FFFFFF"/>
    <a:srgbClr val="FDF2EC"/>
    <a:srgbClr val="FFD5C2"/>
    <a:srgbClr val="1D1D19"/>
    <a:srgbClr val="005690"/>
    <a:srgbClr val="0089CF"/>
    <a:srgbClr val="F2BA2F"/>
    <a:srgbClr val="F2EFED"/>
    <a:srgbClr val="F1EF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1EBEAD-C589-4A28-A21D-2DA5B69CA19B}" v="1" dt="2025-12-08T11:19:27.928"/>
  </p1510:revLst>
</p1510:revInfo>
</file>

<file path=ppt/tableStyles.xml><?xml version="1.0" encoding="utf-8"?>
<a:tblStyleLst xmlns:a="http://schemas.openxmlformats.org/drawingml/2006/main" def="{7BEBEF05-B2D3-47B2-9E27-61AD2477CBAF}">
  <a:tblStyle styleId="{7BEBEF05-B2D3-47B2-9E27-61AD2477CBAF}" styleName="VU table">
    <a:wholeTbl>
      <a:tcTxStyle>
        <a:fontRef idx="minor">
          <a:prstClr val="black"/>
        </a:fontRef>
        <a:schemeClr val="dk1"/>
      </a:tcTxStyle>
      <a:tcStyle>
        <a:tcBdr>
          <a:left>
            <a:ln w="0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0" cmpd="sng">
              <a:solidFill>
                <a:schemeClr val="lt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rgbClr val="FAF7F5"/>
          </a:solidFill>
        </a:fill>
      </a:tcStyle>
    </a:wholeTbl>
    <a:band1H>
      <a:tcStyle>
        <a:tcBdr/>
        <a:fill>
          <a:solidFill>
            <a:srgbClr val="FAF7F5"/>
          </a:solidFill>
        </a:fill>
      </a:tcStyle>
    </a:band1H>
    <a:band2H>
      <a:tcStyle>
        <a:tcBdr/>
        <a:fill>
          <a:solidFill>
            <a:srgbClr val="D8D3D0"/>
          </a:solidFill>
        </a:fill>
      </a:tcStyle>
    </a:band2H>
    <a:band1V>
      <a:tcStyle>
        <a:tcBdr/>
        <a:fill>
          <a:solidFill>
            <a:srgbClr val="FAF7F5"/>
          </a:solidFill>
        </a:fill>
      </a:tcStyle>
    </a:band1V>
    <a:band2V>
      <a:tcStyle>
        <a:tcBdr/>
        <a:fill>
          <a:solidFill>
            <a:srgbClr val="D8D3D0"/>
          </a:solidFill>
        </a:fill>
      </a:tcStyle>
    </a:band2V>
    <a:lastCol>
      <a:tcTxStyle b="on">
        <a:fontRef idx="minor">
          <a:prstClr val="white"/>
        </a:fontRef>
        <a:schemeClr val="lt2"/>
      </a:tcTxStyle>
      <a:tcStyle>
        <a:tcBdr/>
        <a:fill>
          <a:solidFill>
            <a:srgbClr val="D8D3D0"/>
          </a:solidFill>
        </a:fill>
      </a:tcStyle>
    </a:lastCol>
    <a:firstCol>
      <a:tcTxStyle b="on">
        <a:fontRef idx="minor">
          <a:prstClr val="white"/>
        </a:fontRef>
        <a:schemeClr val="lt2"/>
      </a:tcTxStyle>
      <a:tcStyle>
        <a:tcBdr/>
        <a:fill>
          <a:solidFill>
            <a:srgbClr val="D8D3D0"/>
          </a:solidFill>
        </a:fill>
      </a:tcStyle>
    </a:firstCol>
    <a:lastRow>
      <a:tcTxStyle b="on">
        <a:fontRef idx="minor">
          <a:prstClr val="white"/>
        </a:fontRef>
        <a:srgbClr val="FFFFFF"/>
      </a:tcTxStyle>
      <a:tcStyle>
        <a:tcBdr>
          <a:top>
            <a:ln w="0" cmpd="sng">
              <a:solidFill>
                <a:srgbClr val="8E4DA4"/>
              </a:solidFill>
            </a:ln>
          </a:top>
          <a:bottom>
            <a:ln w="0" cmpd="sng">
              <a:solidFill>
                <a:srgbClr val="0077B3"/>
              </a:solidFill>
            </a:ln>
          </a:bottom>
        </a:tcBdr>
        <a:fill>
          <a:solidFill>
            <a:srgbClr val="0077B3"/>
          </a:solidFill>
        </a:fill>
      </a:tcStyle>
    </a:lastRow>
    <a:firstRow>
      <a:tcTxStyle b="on">
        <a:fontRef idx="minor">
          <a:prstClr val="white"/>
        </a:fontRef>
        <a:srgbClr val="FFFFFF"/>
      </a:tcTxStyle>
      <a:tcStyle>
        <a:tcBdr>
          <a:bottom>
            <a:ln w="0" cmpd="sng">
              <a:solidFill>
                <a:srgbClr val="8E4DA4"/>
              </a:solidFill>
            </a:ln>
          </a:bottom>
        </a:tcBdr>
        <a:fill>
          <a:solidFill>
            <a:srgbClr val="0077B3"/>
          </a:solidFill>
        </a:fill>
      </a:tcStyle>
    </a:firstRow>
  </a:tblStyle>
  <a:tblStyle styleId="{A1B2C3D4-E5F6-47B8-9A10-B11C121314D5}" styleName="VU tab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2" d="100"/>
          <a:sy n="112" d="100"/>
        </p:scale>
        <p:origin x="52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678BDEFA-A554-1E40-8D25-315BBC61C42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204D59F-C98A-AC42-935D-C321305918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8645" y="2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C0FAEF-3B2E-B84E-9D41-03FAF4D9BA9D}" type="datetimeFigureOut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3EFB91D-3B19-9044-ADCB-04346E47CFF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615D35D1-2FD5-8045-8868-EED3B52347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0B5BA-55A1-AE4F-80AA-7E4A4229FF9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6748684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8" userDrawn="1">
          <p15:clr>
            <a:srgbClr val="F26B43"/>
          </p15:clr>
        </p15:guide>
        <p15:guide id="2" pos="214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48645" y="2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2399FF-BCBA-A949-B505-2F356A9AA32F}" type="datetimeFigureOut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DBE6A-1E29-8C4E-B011-77BCFA8447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0801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5707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37494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A767B-2A02-339E-54C3-384A48C9E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4C5AC89-875E-0445-58A1-C230C29149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ABD5C110-B721-6FA4-8714-4BF01DAFF7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412168B-1393-B200-0676-3264FFFA95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26064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4171F6-865A-F9F5-4EBC-B1C1FC245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E76068-7682-3AF1-BA9C-A1DD5E35D2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C90B3B1F-3EB2-8A3D-379A-0A9D800346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BB94AE6-D1D5-0B7F-75F2-824C3F9EF9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4601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F3F1F-15AB-095E-7479-92C8F460B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DC4B4D06-CCB8-F166-A2E4-1E83178A9F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55CF2F3F-494C-B7F3-8F47-122F6CE1A4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82C6423-D361-4C19-9165-361E7A7207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91802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75578-C33B-B3B9-2B83-22E9DA73F4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9DB68D67-B26E-41D3-F244-A373A4D9AD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37F0828-0E8C-4F20-3E5B-AD68C56A7C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276F866-5B0E-F5EF-23EB-4EE40CC816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50680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F5B0E-4F76-E7FF-A550-5CB185213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DAC8089-FAC7-50F8-CE4D-64D5E09862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DB27E439-D22B-F582-7AEE-C5DC85F76D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E688AA5-9408-424D-1EAD-18C1F2D463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2295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C9BA2F-DF7C-1BE7-D7F6-293B51A0C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8C0F2C60-8444-9CB7-C0F6-555019515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9E91CFB-A301-62D3-22BD-A00A6E2B1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nl-NL"/>
              <a:t>Mike</a:t>
            </a:r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423F303-33B0-3772-9B0F-9170AC3F41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BE6A-1E29-8C4E-B011-77BCFA8447C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27179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ne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C65891C-A3A3-ED34-8C0A-7880DD6C4936}"/>
              </a:ext>
            </a:extLst>
          </p:cNvPr>
          <p:cNvSpPr/>
          <p:nvPr userDrawn="1"/>
        </p:nvSpPr>
        <p:spPr>
          <a:xfrm>
            <a:off x="0" y="2105025"/>
            <a:ext cx="12193588" cy="4747843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89570639-D439-CB4A-8E3A-DB14A209B15E}"/>
              </a:ext>
            </a:extLst>
          </p:cNvPr>
          <p:cNvSpPr/>
          <p:nvPr userDrawn="1"/>
        </p:nvSpPr>
        <p:spPr>
          <a:xfrm>
            <a:off x="0" y="94641"/>
            <a:ext cx="12193588" cy="2099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78B61334-9308-560B-A31A-ADD107ECA6B2}"/>
              </a:ext>
            </a:extLst>
          </p:cNvPr>
          <p:cNvSpPr/>
          <p:nvPr userDrawn="1"/>
        </p:nvSpPr>
        <p:spPr>
          <a:xfrm>
            <a:off x="432000" y="1576388"/>
            <a:ext cx="11329200" cy="4844480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5536FA4-54FE-4A9E-171E-B0DB9CF27A2C}"/>
              </a:ext>
            </a:extLst>
          </p:cNvPr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00" y="482400"/>
            <a:ext cx="2344002" cy="565200"/>
          </a:xfrm>
          <a:prstGeom prst="rect">
            <a:avLst/>
          </a:prstGeom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AB20DBE5-98C5-2996-6E03-1F2E8A23DA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>
          <a:xfrm>
            <a:off x="864001" y="3867149"/>
            <a:ext cx="4802011" cy="212725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subtitle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F25B9F-C539-D548-73C4-E555674A32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64001" y="1940861"/>
            <a:ext cx="4802011" cy="1735419"/>
          </a:xfrm>
        </p:spPr>
        <p:txBody>
          <a:bodyPr anchor="b">
            <a:normAutofit/>
          </a:bodyPr>
          <a:lstStyle>
            <a:lvl1pPr algn="l">
              <a:defRPr lang="en-GB" sz="3200" b="0" i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246A03B7-31E0-84F6-87BE-72F2AB39E65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8400" y="1576387"/>
            <a:ext cx="5662800" cy="4844479"/>
          </a:xfrm>
          <a:custGeom>
            <a:avLst/>
            <a:gdLst>
              <a:gd name="connsiteX0" fmla="*/ 0 w 5524498"/>
              <a:gd name="connsiteY0" fmla="*/ 0 h 4747844"/>
              <a:gd name="connsiteX1" fmla="*/ 5524498 w 5524498"/>
              <a:gd name="connsiteY1" fmla="*/ 0 h 4747844"/>
              <a:gd name="connsiteX2" fmla="*/ 5524498 w 5524498"/>
              <a:gd name="connsiteY2" fmla="*/ 4747844 h 4747844"/>
              <a:gd name="connsiteX3" fmla="*/ 0 w 5524498"/>
              <a:gd name="connsiteY3" fmla="*/ 4747844 h 4747844"/>
              <a:gd name="connsiteX4" fmla="*/ 0 w 5524498"/>
              <a:gd name="connsiteY4" fmla="*/ 685879 h 4747844"/>
              <a:gd name="connsiteX5" fmla="*/ 2063 w 5524498"/>
              <a:gd name="connsiteY5" fmla="*/ 688036 h 4747844"/>
              <a:gd name="connsiteX6" fmla="*/ 167133 w 5524498"/>
              <a:gd name="connsiteY6" fmla="*/ 515355 h 4747844"/>
              <a:gd name="connsiteX7" fmla="*/ 2063 w 5524498"/>
              <a:gd name="connsiteY7" fmla="*/ 342673 h 4747844"/>
              <a:gd name="connsiteX8" fmla="*/ 0 w 5524498"/>
              <a:gd name="connsiteY8" fmla="*/ 344831 h 4747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4498" h="4747844">
                <a:moveTo>
                  <a:pt x="0" y="0"/>
                </a:moveTo>
                <a:lnTo>
                  <a:pt x="5524498" y="0"/>
                </a:lnTo>
                <a:lnTo>
                  <a:pt x="5524498" y="4747844"/>
                </a:lnTo>
                <a:lnTo>
                  <a:pt x="0" y="4747844"/>
                </a:lnTo>
                <a:lnTo>
                  <a:pt x="0" y="685879"/>
                </a:lnTo>
                <a:lnTo>
                  <a:pt x="2063" y="688036"/>
                </a:lnTo>
                <a:lnTo>
                  <a:pt x="167133" y="515355"/>
                </a:lnTo>
                <a:lnTo>
                  <a:pt x="2063" y="342673"/>
                </a:lnTo>
                <a:lnTo>
                  <a:pt x="0" y="344831"/>
                </a:lnTo>
                <a:close/>
              </a:path>
            </a:pathLst>
          </a:custGeom>
        </p:spPr>
        <p:txBody>
          <a:bodyPr wrap="square" lIns="360000" tIns="360000" rIns="360000" bIns="360000" anchor="ctr" anchorCtr="0">
            <a:noAutofit/>
          </a:bodyPr>
          <a:lstStyle>
            <a:lvl1pPr algn="ctr">
              <a:defRPr sz="18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392725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7480300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F89091-84B6-9D41-94A9-67CEA53905E1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8000" y="1576388"/>
            <a:ext cx="3633588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8975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-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 userDrawn="1"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D0CAB06-61B4-E948-AD75-D6769B8EC58A}" type="datetime1">
              <a:rPr lang="nl-NL" smtClean="0"/>
              <a:t>8-12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99" y="1576387"/>
            <a:ext cx="7462838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1801860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- text right -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 userDrawn="1"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63849A1-6073-954F-A214-C0DEDD4164EC}" type="datetime1">
              <a:rPr lang="nl-NL" smtClean="0"/>
              <a:t>8-12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0" y="1576388"/>
            <a:ext cx="555625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99" y="1576387"/>
            <a:ext cx="5556251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1033800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- text right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 userDrawn="1"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198105E-447A-274F-A522-365C633C058E}" type="datetime1">
              <a:rPr lang="nl-NL" smtClean="0"/>
              <a:t>8-12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900" y="1576388"/>
            <a:ext cx="74803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99" y="1576387"/>
            <a:ext cx="3632201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3769151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79900" y="1576387"/>
            <a:ext cx="7462838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 userDrawn="1"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8F7393E-3162-3046-A0DA-A51FA15C057E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714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picture right -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3948" y="1576387"/>
            <a:ext cx="5538789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 userDrawn="1"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061A550-A529-B941-B8BD-FC80E746C492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5538789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0766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picture right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0" y="1576387"/>
            <a:ext cx="3614737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 userDrawn="1"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D53E3D1-3EA0-A545-A0E3-D0EB5B949A88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7480300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890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48CC2631-800F-EB89-643D-D56DC5D00C9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99" y="1576387"/>
            <a:ext cx="11310939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 userDrawn="1"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88BF7-40D7-C549-9721-4116166B26C5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783969B0-C419-7879-8EA7-72AF0CA7B8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502" y="2706240"/>
            <a:ext cx="361159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709743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c spac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tekst 22">
            <a:extLst>
              <a:ext uri="{FF2B5EF4-FFF2-40B4-BE49-F238E27FC236}">
                <a16:creationId xmlns:a16="http://schemas.microsoft.com/office/drawing/2014/main" id="{0EECDB0A-3F3B-DBE3-C32C-715F29E91A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172" y="1580248"/>
            <a:ext cx="3633588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400"/>
            <a:r>
              <a:rPr lang="nl-NL"/>
              <a:t>Klikken om de tekststijl van het model te bewerken</a:t>
            </a:r>
          </a:p>
        </p:txBody>
      </p:sp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F0479665-9DC8-8925-3327-A3407B10B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801" y="1576388"/>
            <a:ext cx="1603616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 userDrawn="1"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D31B9B-2D56-F1E2-0C00-3D9571B263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22E6BAC-0CB0-9A44-B197-1E7BAF280676}" type="datetime1">
              <a:rPr lang="nl-NL" smtClean="0"/>
              <a:t>8-12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8ADA60-27A2-50CF-7DEB-D2834BF655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C40599-0636-A660-D459-700566FE4E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25" name="Tijdelijke aanduiding voor tekst 24">
            <a:extLst>
              <a:ext uri="{FF2B5EF4-FFF2-40B4-BE49-F238E27FC236}">
                <a16:creationId xmlns:a16="http://schemas.microsoft.com/office/drawing/2014/main" id="{F0FE1857-A9F9-05FF-1376-11BD7EA789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39950" y="1637398"/>
            <a:ext cx="1816100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26" name="Tijdelijke aanduiding voor tekst 24">
            <a:extLst>
              <a:ext uri="{FF2B5EF4-FFF2-40B4-BE49-F238E27FC236}">
                <a16:creationId xmlns:a16="http://schemas.microsoft.com/office/drawing/2014/main" id="{1DB4D1CC-0BBD-9ED0-F7EC-CE01F65735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39950" y="2111211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27" name="Tijdelijke aanduiding voor tekst 24">
            <a:extLst>
              <a:ext uri="{FF2B5EF4-FFF2-40B4-BE49-F238E27FC236}">
                <a16:creationId xmlns:a16="http://schemas.microsoft.com/office/drawing/2014/main" id="{E3651053-0A81-E525-4526-BB1FD3193A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39950" y="2585024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28" name="Tijdelijke aanduiding voor tekst 22">
            <a:extLst>
              <a:ext uri="{FF2B5EF4-FFF2-40B4-BE49-F238E27FC236}">
                <a16:creationId xmlns:a16="http://schemas.microsoft.com/office/drawing/2014/main" id="{E9512E52-AF27-B0D3-C0D2-818B067839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92271" y="1580248"/>
            <a:ext cx="3633588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400"/>
            <a:r>
              <a:rPr lang="nl-NL"/>
              <a:t>Klikken om de tekststijl van het model te bewerken</a:t>
            </a:r>
          </a:p>
        </p:txBody>
      </p:sp>
      <p:sp>
        <p:nvSpPr>
          <p:cNvPr id="29" name="Tijdelijke aanduiding voor afbeelding 28">
            <a:extLst>
              <a:ext uri="{FF2B5EF4-FFF2-40B4-BE49-F238E27FC236}">
                <a16:creationId xmlns:a16="http://schemas.microsoft.com/office/drawing/2014/main" id="{CC7C1EA0-C83B-BFBF-9DEE-5B542F3A601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279900" y="1576388"/>
            <a:ext cx="1603616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B1EE46F9-0D65-E257-4C1E-69BCDD33DD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8049" y="1637398"/>
            <a:ext cx="1816100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1FA2AF12-6226-DA44-46E3-BEE40B8FF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88049" y="2111211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5ABCBB2A-23EE-C746-572E-0008884BDB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88049" y="2585024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33" name="Tijdelijke aanduiding voor tekst 22">
            <a:extLst>
              <a:ext uri="{FF2B5EF4-FFF2-40B4-BE49-F238E27FC236}">
                <a16:creationId xmlns:a16="http://schemas.microsoft.com/office/drawing/2014/main" id="{8DAB9683-2408-C2CC-99B1-C60F84D6558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4172" y="3881022"/>
            <a:ext cx="3633588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400"/>
            <a:r>
              <a:rPr lang="nl-NL"/>
              <a:t>Klikken om de tekststijl van het model te bewerken</a:t>
            </a:r>
          </a:p>
        </p:txBody>
      </p:sp>
      <p:sp>
        <p:nvSpPr>
          <p:cNvPr id="34" name="Tijdelijke aanduiding voor afbeelding 33">
            <a:extLst>
              <a:ext uri="{FF2B5EF4-FFF2-40B4-BE49-F238E27FC236}">
                <a16:creationId xmlns:a16="http://schemas.microsoft.com/office/drawing/2014/main" id="{CA32F1FC-A0B6-0151-E6CF-8EA1DC53282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801" y="3877162"/>
            <a:ext cx="1603616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35" name="Tijdelijke aanduiding voor tekst 24">
            <a:extLst>
              <a:ext uri="{FF2B5EF4-FFF2-40B4-BE49-F238E27FC236}">
                <a16:creationId xmlns:a16="http://schemas.microsoft.com/office/drawing/2014/main" id="{CF355DAA-3D50-BF7B-C885-37888FC0C3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39950" y="3938172"/>
            <a:ext cx="1816100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36" name="Tijdelijke aanduiding voor tekst 24">
            <a:extLst>
              <a:ext uri="{FF2B5EF4-FFF2-40B4-BE49-F238E27FC236}">
                <a16:creationId xmlns:a16="http://schemas.microsoft.com/office/drawing/2014/main" id="{92F7FCE7-20AC-7AAC-1AC9-2230E8635C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39950" y="4411985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37" name="Tijdelijke aanduiding voor tekst 24">
            <a:extLst>
              <a:ext uri="{FF2B5EF4-FFF2-40B4-BE49-F238E27FC236}">
                <a16:creationId xmlns:a16="http://schemas.microsoft.com/office/drawing/2014/main" id="{BA1026DC-B365-D2F2-3808-C97E5BDFE3B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39950" y="4885798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38" name="Tijdelijke aanduiding voor tekst 22">
            <a:extLst>
              <a:ext uri="{FF2B5EF4-FFF2-40B4-BE49-F238E27FC236}">
                <a16:creationId xmlns:a16="http://schemas.microsoft.com/office/drawing/2014/main" id="{9757A69A-0E67-1DBC-DE5D-F96DD0C6D8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92271" y="3881022"/>
            <a:ext cx="3633588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400"/>
            <a:r>
              <a:rPr lang="nl-NL"/>
              <a:t>Klikken om de tekststijl van het model te bewerken</a:t>
            </a:r>
          </a:p>
        </p:txBody>
      </p:sp>
      <p:sp>
        <p:nvSpPr>
          <p:cNvPr id="39" name="Tijdelijke aanduiding voor afbeelding 38">
            <a:extLst>
              <a:ext uri="{FF2B5EF4-FFF2-40B4-BE49-F238E27FC236}">
                <a16:creationId xmlns:a16="http://schemas.microsoft.com/office/drawing/2014/main" id="{127AB223-A471-0CBC-E96A-4771299EC3F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279900" y="3877162"/>
            <a:ext cx="1603616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an</a:t>
            </a:r>
            <a:r>
              <a:rPr lang="nl-NL"/>
              <a:t> image</a:t>
            </a:r>
          </a:p>
        </p:txBody>
      </p:sp>
      <p:sp>
        <p:nvSpPr>
          <p:cNvPr id="40" name="Tijdelijke aanduiding voor tekst 24">
            <a:extLst>
              <a:ext uri="{FF2B5EF4-FFF2-40B4-BE49-F238E27FC236}">
                <a16:creationId xmlns:a16="http://schemas.microsoft.com/office/drawing/2014/main" id="{8CB5339B-E95B-436B-6445-2CC6366A7F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88049" y="3938172"/>
            <a:ext cx="1816100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41" name="Tijdelijke aanduiding voor tekst 24">
            <a:extLst>
              <a:ext uri="{FF2B5EF4-FFF2-40B4-BE49-F238E27FC236}">
                <a16:creationId xmlns:a16="http://schemas.microsoft.com/office/drawing/2014/main" id="{769B8132-AD98-D502-4125-80268A522F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88049" y="4411985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42" name="Tijdelijke aanduiding voor tekst 24">
            <a:extLst>
              <a:ext uri="{FF2B5EF4-FFF2-40B4-BE49-F238E27FC236}">
                <a16:creationId xmlns:a16="http://schemas.microsoft.com/office/drawing/2014/main" id="{B52CE6EE-B925-65A9-3728-D23B1B1764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8049" y="4885798"/>
            <a:ext cx="1816100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89B438E-7250-7384-E525-FA039241B31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1533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 spac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 userDrawn="1"/>
        </p:nvSpPr>
        <p:spPr>
          <a:xfrm>
            <a:off x="717847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42B726BF-7D6C-A126-E8FD-4B43F574E2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6EDF43-1019-F745-91E9-04F49F6AC115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7035D2F-F55E-FC9B-F649-09773DEA6F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F4364D5-FD8B-B0E6-4699-51F4E78611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72E796-0562-73EA-5614-C6BAEBE879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19E97F9-28B2-BE9A-924E-34775C3ECB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79899" y="1576388"/>
            <a:ext cx="7481689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461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faculty n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C65891C-A3A3-ED34-8C0A-7880DD6C4936}"/>
              </a:ext>
            </a:extLst>
          </p:cNvPr>
          <p:cNvSpPr/>
          <p:nvPr userDrawn="1"/>
        </p:nvSpPr>
        <p:spPr>
          <a:xfrm>
            <a:off x="0" y="2105025"/>
            <a:ext cx="12193588" cy="4747843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89570639-D439-CB4A-8E3A-DB14A209B15E}"/>
              </a:ext>
            </a:extLst>
          </p:cNvPr>
          <p:cNvSpPr/>
          <p:nvPr userDrawn="1"/>
        </p:nvSpPr>
        <p:spPr>
          <a:xfrm>
            <a:off x="0" y="94641"/>
            <a:ext cx="12193588" cy="2099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8B21107-69BE-D655-5B0A-073E48B5E36F}"/>
              </a:ext>
            </a:extLst>
          </p:cNvPr>
          <p:cNvPicPr/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3202" y="446881"/>
            <a:ext cx="682605" cy="784225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78B61334-9308-560B-A31A-ADD107ECA6B2}"/>
              </a:ext>
            </a:extLst>
          </p:cNvPr>
          <p:cNvSpPr/>
          <p:nvPr userDrawn="1"/>
        </p:nvSpPr>
        <p:spPr>
          <a:xfrm>
            <a:off x="432000" y="1576388"/>
            <a:ext cx="11329200" cy="4844480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5536FA4-54FE-4A9E-171E-B0DB9CF27A2C}"/>
              </a:ext>
            </a:extLst>
          </p:cNvPr>
          <p:cNvPicPr/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00" y="482400"/>
            <a:ext cx="2344002" cy="565200"/>
          </a:xfrm>
          <a:prstGeom prst="rect">
            <a:avLst/>
          </a:prstGeom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AB20DBE5-98C5-2996-6E03-1F2E8A23DA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>
          <a:xfrm>
            <a:off x="864001" y="3867149"/>
            <a:ext cx="4802011" cy="212725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subtitle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F25B9F-C539-D548-73C4-E555674A32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64001" y="1940861"/>
            <a:ext cx="4802011" cy="1735419"/>
          </a:xfrm>
        </p:spPr>
        <p:txBody>
          <a:bodyPr anchor="b">
            <a:normAutofit/>
          </a:bodyPr>
          <a:lstStyle>
            <a:lvl1pPr algn="l">
              <a:defRPr lang="en-GB" sz="3200" b="0" i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en-GB"/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246A03B7-31E0-84F6-87BE-72F2AB39E65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8400" y="1576387"/>
            <a:ext cx="5662800" cy="4844479"/>
          </a:xfrm>
          <a:custGeom>
            <a:avLst/>
            <a:gdLst>
              <a:gd name="connsiteX0" fmla="*/ 0 w 5524498"/>
              <a:gd name="connsiteY0" fmla="*/ 0 h 4747844"/>
              <a:gd name="connsiteX1" fmla="*/ 5524498 w 5524498"/>
              <a:gd name="connsiteY1" fmla="*/ 0 h 4747844"/>
              <a:gd name="connsiteX2" fmla="*/ 5524498 w 5524498"/>
              <a:gd name="connsiteY2" fmla="*/ 4747844 h 4747844"/>
              <a:gd name="connsiteX3" fmla="*/ 0 w 5524498"/>
              <a:gd name="connsiteY3" fmla="*/ 4747844 h 4747844"/>
              <a:gd name="connsiteX4" fmla="*/ 0 w 5524498"/>
              <a:gd name="connsiteY4" fmla="*/ 685879 h 4747844"/>
              <a:gd name="connsiteX5" fmla="*/ 2063 w 5524498"/>
              <a:gd name="connsiteY5" fmla="*/ 688036 h 4747844"/>
              <a:gd name="connsiteX6" fmla="*/ 167133 w 5524498"/>
              <a:gd name="connsiteY6" fmla="*/ 515355 h 4747844"/>
              <a:gd name="connsiteX7" fmla="*/ 2063 w 5524498"/>
              <a:gd name="connsiteY7" fmla="*/ 342673 h 4747844"/>
              <a:gd name="connsiteX8" fmla="*/ 0 w 5524498"/>
              <a:gd name="connsiteY8" fmla="*/ 344831 h 4747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4498" h="4747844">
                <a:moveTo>
                  <a:pt x="0" y="0"/>
                </a:moveTo>
                <a:lnTo>
                  <a:pt x="5524498" y="0"/>
                </a:lnTo>
                <a:lnTo>
                  <a:pt x="5524498" y="4747844"/>
                </a:lnTo>
                <a:lnTo>
                  <a:pt x="0" y="4747844"/>
                </a:lnTo>
                <a:lnTo>
                  <a:pt x="0" y="685879"/>
                </a:lnTo>
                <a:lnTo>
                  <a:pt x="2063" y="688036"/>
                </a:lnTo>
                <a:lnTo>
                  <a:pt x="167133" y="515355"/>
                </a:lnTo>
                <a:lnTo>
                  <a:pt x="2063" y="342673"/>
                </a:lnTo>
                <a:lnTo>
                  <a:pt x="0" y="344831"/>
                </a:lnTo>
                <a:close/>
              </a:path>
            </a:pathLst>
          </a:custGeom>
        </p:spPr>
        <p:txBody>
          <a:bodyPr wrap="square" lIns="360000" tIns="360000" rIns="360000" bIns="360000" anchor="ctr" anchorCtr="0">
            <a:noAutofit/>
          </a:bodyPr>
          <a:lstStyle>
            <a:lvl1pPr algn="ctr">
              <a:defRPr sz="18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Tijdelijke aanduiding voor tekst 4">
            <a:extLst>
              <a:ext uri="{FF2B5EF4-FFF2-40B4-BE49-F238E27FC236}">
                <a16:creationId xmlns:a16="http://schemas.microsoft.com/office/drawing/2014/main" id="{A541CB9B-746B-BA92-9FAE-90C51D331E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1857" y="433632"/>
            <a:ext cx="3168724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ptos" panose="020B0004020202020204" pitchFamily="34" charset="0"/>
              <a:buNone/>
              <a:defRPr lang="nl-NL" sz="1100" b="0" i="0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/>
              <a:t>Type </a:t>
            </a:r>
            <a:r>
              <a:rPr lang="nl-NL" err="1"/>
              <a:t>faculty</a:t>
            </a:r>
            <a:r>
              <a:rPr lang="nl-NL"/>
              <a:t> or research </a:t>
            </a:r>
            <a:r>
              <a:rPr lang="nl-NL" err="1"/>
              <a:t>institute</a:t>
            </a:r>
            <a:r>
              <a:rPr lang="nl-NL"/>
              <a:t> name.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only</a:t>
            </a:r>
            <a:r>
              <a:rPr lang="nl-NL"/>
              <a:t> VU logo is </a:t>
            </a:r>
            <a:r>
              <a:rPr lang="nl-NL" err="1"/>
              <a:t>needed</a:t>
            </a:r>
            <a:r>
              <a:rPr lang="nl-NL"/>
              <a:t>, </a:t>
            </a:r>
            <a:br>
              <a:rPr lang="nl-NL"/>
            </a:br>
            <a:r>
              <a:rPr lang="nl-NL" err="1"/>
              <a:t>choos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other</a:t>
            </a:r>
            <a:r>
              <a:rPr lang="nl-NL"/>
              <a:t> cover </a:t>
            </a:r>
            <a:r>
              <a:rPr lang="nl-NL" err="1"/>
              <a:t>layout</a:t>
            </a:r>
            <a:r>
              <a:rPr lang="nl-NL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57974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 userDrawn="1">
          <p15:clr>
            <a:srgbClr val="FBAE40"/>
          </p15:clr>
        </p15:guide>
        <p15:guide id="3" pos="39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2913" y="1576388"/>
            <a:ext cx="7469187" cy="4418012"/>
          </a:xfrm>
        </p:spPr>
        <p:txBody>
          <a:bodyPr/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graph</a:t>
            </a:r>
            <a:endParaRPr lang="nl-NL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72110CB8-C7B7-4DD1-8441-45E474EC81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ACCDB881-0014-8524-DFF1-7DAC4A0D1BE2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35A97D1-D86E-85E7-D601-FCFB317C5A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CC08748-9181-C279-355E-D681C6C5DAD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CE6BAF0-0D0D-F945-AFA2-A65278DBA165}" type="datetime1">
              <a:rPr lang="nl-NL" smtClean="0"/>
              <a:t>8-12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9DF92E0-FEBB-77C7-B880-8D660728C42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D07055D3-C543-77AB-7A53-0DE3FCED84F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1D08785-AC2D-687B-D9D5-B893D7B768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4683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EF82CA3-7C8A-734A-9FD6-58AE42A539BB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6" name="Tijdelijke aanduiding voor tabel 5">
            <a:extLst>
              <a:ext uri="{FF2B5EF4-FFF2-40B4-BE49-F238E27FC236}">
                <a16:creationId xmlns:a16="http://schemas.microsoft.com/office/drawing/2014/main" id="{47E62785-8AAB-6D1E-69E3-B00A4B93325C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431801" y="1576388"/>
            <a:ext cx="7480300" cy="4418013"/>
          </a:xfrm>
        </p:spPr>
        <p:txBody>
          <a:bodyPr/>
          <a:lstStyle/>
          <a:p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able</a:t>
            </a:r>
            <a:r>
              <a:rPr lang="nl-NL"/>
              <a:t>, click on </a:t>
            </a:r>
            <a:r>
              <a:rPr lang="nl-NL" err="1"/>
              <a:t>the</a:t>
            </a:r>
            <a:r>
              <a:rPr lang="nl-NL"/>
              <a:t> icon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CF73558-6FAD-BEAA-D4AC-CE2BC06B21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0663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CCDCD8-5715-96D1-23B2-6EDA2E5B9E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3588" cy="6858000"/>
          </a:xfrm>
          <a:prstGeom prst="rect">
            <a:avLst/>
          </a:prstGeom>
          <a:solidFill>
            <a:srgbClr val="DFF2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E1CA300-B451-A048-8408-FA52BBBC47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3588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graph</a:t>
            </a:r>
            <a:endParaRPr lang="nl-NL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7D79DC2E-4F5A-E045-8370-A849FB985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849" y="450850"/>
            <a:ext cx="361159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36D40590-4D6C-4940-801D-F2770FBA85A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C279ED84-5350-31BA-AE1B-A96D1F31B032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490F6628-02BA-C82D-E859-1C8D180D7FE0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B5FF188E-E915-E4F8-7720-CAA0F4E0195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8D19240-B8CA-C148-846D-FDFF858A033C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BB1E9EE5-938E-D823-DD58-232A910C39C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A00EA6AB-AD14-45E8-8C5B-D9DDF1A934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69491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CCDCD8-5715-96D1-23B2-6EDA2E5B9E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3588" cy="6858000"/>
          </a:xfrm>
          <a:prstGeom prst="rect">
            <a:avLst/>
          </a:prstGeom>
          <a:solidFill>
            <a:srgbClr val="DFF2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7D79DC2E-4F5A-E045-8370-A849FB985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849" y="450850"/>
            <a:ext cx="361159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36D40590-4D6C-4940-801D-F2770FBA85A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C279ED84-5350-31BA-AE1B-A96D1F31B032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490F6628-02BA-C82D-E859-1C8D180D7FE0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B5FF188E-E915-E4F8-7720-CAA0F4E0195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8BF8D94-44AC-D84E-BA66-26B7F2FE57C5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BB1E9EE5-938E-D823-DD58-232A910C39C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A00EA6AB-AD14-45E8-8C5B-D9DDF1A934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8739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8DE7B067-3B39-4C45-8542-7786B2F08212}"/>
              </a:ext>
            </a:extLst>
          </p:cNvPr>
          <p:cNvSpPr/>
          <p:nvPr/>
        </p:nvSpPr>
        <p:spPr>
          <a:xfrm>
            <a:off x="0" y="-1"/>
            <a:ext cx="12291924" cy="6858001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9D4AC89-CCE6-6049-A5FF-F2EE4C7D01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442800" y="442800"/>
            <a:ext cx="11307988" cy="5972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4000">
                <a:ln>
                  <a:noFill/>
                </a:ln>
                <a:solidFill>
                  <a:schemeClr val="bg2"/>
                </a:solidFill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ypeTextLevel" hidden="1">
            <a:extLst>
              <a:ext uri="{FF2B5EF4-FFF2-40B4-BE49-F238E27FC236}">
                <a16:creationId xmlns:a16="http://schemas.microsoft.com/office/drawing/2014/main" id="{65456933-FC8C-49C9-8667-FA951FB0C6FA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  <p:sp>
        <p:nvSpPr>
          <p:cNvPr id="6" name="TypeTextLevel" hidden="1">
            <a:extLst>
              <a:ext uri="{FF2B5EF4-FFF2-40B4-BE49-F238E27FC236}">
                <a16:creationId xmlns:a16="http://schemas.microsoft.com/office/drawing/2014/main" id="{5A711593-52A7-D765-F538-F76BA2FAA6B9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6A99E1AD-A343-49DC-91E0-1C128A46C61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</p:spTree>
    <p:extLst>
      <p:ext uri="{BB962C8B-B14F-4D97-AF65-F5344CB8AC3E}">
        <p14:creationId xmlns:p14="http://schemas.microsoft.com/office/powerpoint/2010/main" val="212582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1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pos="7408" userDrawn="1">
          <p15:clr>
            <a:srgbClr val="FBAE40"/>
          </p15:clr>
        </p15:guide>
        <p15:guide id="5" orient="horz" userDrawn="1">
          <p15:clr>
            <a:srgbClr val="FBAE40"/>
          </p15:clr>
        </p15:guide>
        <p15:guide id="6" orient="horz" pos="4320" userDrawn="1">
          <p15:clr>
            <a:srgbClr val="FBAE40"/>
          </p15:clr>
        </p15:guide>
        <p15:guide id="7" orient="horz" pos="272" userDrawn="1">
          <p15:clr>
            <a:srgbClr val="FBAE40"/>
          </p15:clr>
        </p15:guide>
        <p15:guide id="8" orient="horz" pos="404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266894" y="1576388"/>
            <a:ext cx="7494894" cy="4418012"/>
          </a:xfrm>
        </p:spPr>
        <p:txBody>
          <a:bodyPr/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graph</a:t>
            </a:r>
            <a:endParaRPr lang="nl-NL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A50F3ED2-12D9-322A-A169-1874133D1EEA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F8FC23E-0318-8C64-5F32-6DF167F56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8" name="Tijdelijke aanduiding voor datum 7">
            <a:extLst>
              <a:ext uri="{FF2B5EF4-FFF2-40B4-BE49-F238E27FC236}">
                <a16:creationId xmlns:a16="http://schemas.microsoft.com/office/drawing/2014/main" id="{B9AD48F4-8A39-FAE5-E9FA-592814D7A47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F6C0B21-9328-3244-A0DB-13C5C3384B20}" type="datetime1">
              <a:rPr lang="nl-NL" smtClean="0"/>
              <a:t>8-12-2025</a:t>
            </a:fld>
            <a:endParaRPr lang="nl-NL"/>
          </a:p>
        </p:txBody>
      </p:sp>
      <p:sp>
        <p:nvSpPr>
          <p:cNvPr id="9" name="Tijdelijke aanduiding voor voettekst 8">
            <a:extLst>
              <a:ext uri="{FF2B5EF4-FFF2-40B4-BE49-F238E27FC236}">
                <a16:creationId xmlns:a16="http://schemas.microsoft.com/office/drawing/2014/main" id="{253E185E-CEF4-9EE7-200E-972F81F470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12578079-FC54-ABE6-75E2-A6CEC80CB1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5CF6132B-474C-9D29-B543-5E636B2A8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920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2913" y="1576388"/>
            <a:ext cx="7469187" cy="4418012"/>
          </a:xfrm>
        </p:spPr>
        <p:txBody>
          <a:bodyPr/>
          <a:lstStyle/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want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graph</a:t>
            </a:r>
            <a:endParaRPr lang="nl-NL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A50F3ED2-12D9-322A-A169-1874133D1EEA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F8FC23E-0318-8C64-5F32-6DF167F56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2829266-85BF-DA81-ECF1-ED64C5BC405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25E1682-7C57-2945-B5DF-E41BBD572EF2}" type="datetime1">
              <a:rPr lang="nl-NL" smtClean="0"/>
              <a:t>8-12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AD1558C-E821-A1A3-AFEC-E51DDB20EBB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1F851B3-D4F1-06F5-3A98-FAE71E3793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62ED1A9-9145-6156-F2A5-72060403844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9884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-1"/>
            <a:ext cx="11347060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6B40E-E78E-EB45-9253-200E142EA26D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ACF1038D-30ED-296B-FD3A-781692693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7485" y="2139303"/>
            <a:ext cx="1363331" cy="1363331"/>
          </a:xfrm>
          <a:prstGeom prst="ellipse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FA598ED2-D5C7-EE42-132E-A167C28A1B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4930" y="2139303"/>
            <a:ext cx="1363331" cy="1363331"/>
          </a:xfrm>
          <a:prstGeom prst="ellipse">
            <a:avLst/>
          </a:prstGeom>
          <a:solidFill>
            <a:srgbClr val="F3BA3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4" name="Tijdelijke aanduiding voor tekst 11">
            <a:extLst>
              <a:ext uri="{FF2B5EF4-FFF2-40B4-BE49-F238E27FC236}">
                <a16:creationId xmlns:a16="http://schemas.microsoft.com/office/drawing/2014/main" id="{3DD24851-04AF-12AB-FE60-AD021984BF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37485" y="4076735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5" name="Tijdelijke aanduiding voor tekst 11">
            <a:extLst>
              <a:ext uri="{FF2B5EF4-FFF2-40B4-BE49-F238E27FC236}">
                <a16:creationId xmlns:a16="http://schemas.microsoft.com/office/drawing/2014/main" id="{EAAE9CDC-F402-04DD-0172-48062FF69A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4930" y="4076735"/>
            <a:ext cx="1363331" cy="1363331"/>
          </a:xfrm>
          <a:prstGeom prst="ellipse">
            <a:avLst/>
          </a:prstGeom>
          <a:solidFill>
            <a:srgbClr val="E8692D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6" name="Tijdelijke aanduiding voor tekst 11">
            <a:extLst>
              <a:ext uri="{FF2B5EF4-FFF2-40B4-BE49-F238E27FC236}">
                <a16:creationId xmlns:a16="http://schemas.microsoft.com/office/drawing/2014/main" id="{AC94189A-1D86-4128-8650-AFBFEA7D76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95426" y="3277632"/>
            <a:ext cx="1012897" cy="1012897"/>
          </a:xfrm>
          <a:prstGeom prst="ellipse">
            <a:avLst/>
          </a:prstGeom>
          <a:solidFill>
            <a:schemeClr val="bg2">
              <a:lumMod val="95000"/>
            </a:schemeClr>
          </a:solidFill>
        </p:spPr>
        <p:txBody>
          <a:bodyPr vert="horz" wrap="none" lIns="0" tIns="0" rIns="0" bIns="0" rtlCol="0" anchor="ctr">
            <a:noAutofit/>
          </a:bodyPr>
          <a:lstStyle>
            <a:lvl1pPr algn="ctr">
              <a:defRPr kumimoji="0" lang="nl-NL" b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defRPr>
            </a:lvl1pPr>
          </a:lstStyle>
          <a:p>
            <a:pPr marR="0" lvl="0" algn="ctr" defTabSz="91440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nl-NL" sz="2000" err="1">
                <a:solidFill>
                  <a:schemeClr val="tx1"/>
                </a:solidFill>
                <a:latin typeface="Aptos Display" panose="020B0004020202020204" pitchFamily="34" charset="0"/>
              </a:rPr>
              <a:t>title</a:t>
            </a:r>
            <a:endParaRPr lang="nl-NL" sz="2000">
              <a:solidFill>
                <a:schemeClr val="tx1"/>
              </a:solidFill>
              <a:latin typeface="Aptos Display" panose="020B000402020202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69DED3B8-C92B-B7AF-2787-4155B044588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3223" y="2495421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19" name="Tijdelijke aanduiding voor afbeelding 17">
            <a:extLst>
              <a:ext uri="{FF2B5EF4-FFF2-40B4-BE49-F238E27FC236}">
                <a16:creationId xmlns:a16="http://schemas.microsoft.com/office/drawing/2014/main" id="{52BDA4E1-0A93-0F7E-A632-C7C852E902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730669" y="2495421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0" name="Tijdelijke aanduiding voor afbeelding 17">
            <a:extLst>
              <a:ext uri="{FF2B5EF4-FFF2-40B4-BE49-F238E27FC236}">
                <a16:creationId xmlns:a16="http://schemas.microsoft.com/office/drawing/2014/main" id="{9DA37489-305F-F3E3-86FD-B7E5E7D377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93223" y="4432852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1" name="Tijdelijke aanduiding voor afbeelding 17">
            <a:extLst>
              <a:ext uri="{FF2B5EF4-FFF2-40B4-BE49-F238E27FC236}">
                <a16:creationId xmlns:a16="http://schemas.microsoft.com/office/drawing/2014/main" id="{7F6C8360-C076-F1E4-90E0-BA8C0FA054D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30669" y="4432852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7" name="Tijdelijke aanduiding voor tekst 24">
            <a:extLst>
              <a:ext uri="{FF2B5EF4-FFF2-40B4-BE49-F238E27FC236}">
                <a16:creationId xmlns:a16="http://schemas.microsoft.com/office/drawing/2014/main" id="{C05CAE12-FF59-F52B-13A4-F043866C51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55851" y="2139303"/>
            <a:ext cx="1708149" cy="436328"/>
          </a:xfrm>
        </p:spPr>
        <p:txBody>
          <a:bodyPr anchor="b">
            <a:noAutofit/>
          </a:bodyPr>
          <a:lstStyle>
            <a:lvl1pPr algn="r">
              <a:defRPr lang="nl-NL" sz="1600" b="1" kern="1200" dirty="0">
                <a:solidFill>
                  <a:srgbClr val="4FAF4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Strenghts</a:t>
            </a:r>
            <a:endParaRPr lang="nl-NL"/>
          </a:p>
        </p:txBody>
      </p:sp>
      <p:sp>
        <p:nvSpPr>
          <p:cNvPr id="28" name="Tijdelijke aanduiding voor tekst 24">
            <a:extLst>
              <a:ext uri="{FF2B5EF4-FFF2-40B4-BE49-F238E27FC236}">
                <a16:creationId xmlns:a16="http://schemas.microsoft.com/office/drawing/2014/main" id="{BC8817D3-5FC3-2EAB-37EE-54DF6AF762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55851" y="2613115"/>
            <a:ext cx="1708149" cy="1068297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29" name="Tijdelijke aanduiding voor tekst 24">
            <a:extLst>
              <a:ext uri="{FF2B5EF4-FFF2-40B4-BE49-F238E27FC236}">
                <a16:creationId xmlns:a16="http://schemas.microsoft.com/office/drawing/2014/main" id="{EA553E71-3299-39EF-29FF-CF96B7ED2BA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8000" y="2139303"/>
            <a:ext cx="1708149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F3BA30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Weakness</a:t>
            </a:r>
            <a:endParaRPr lang="nl-NL"/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73697669-61CE-1436-85B6-974B87CDCC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8000" y="2613115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A58AB3DB-0FEF-B702-5751-2C5F42D002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5851" y="4077618"/>
            <a:ext cx="1708149" cy="436328"/>
          </a:xfrm>
        </p:spPr>
        <p:txBody>
          <a:bodyPr anchor="b">
            <a:noAutofit/>
          </a:bodyPr>
          <a:lstStyle>
            <a:lvl1pPr algn="r">
              <a:defRPr lang="nl-NL" sz="16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Opportunities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EDA42C42-7886-322E-1941-6D1ED8850A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55851" y="4551430"/>
            <a:ext cx="1708149" cy="1068297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3" name="Tijdelijke aanduiding voor tekst 24">
            <a:extLst>
              <a:ext uri="{FF2B5EF4-FFF2-40B4-BE49-F238E27FC236}">
                <a16:creationId xmlns:a16="http://schemas.microsoft.com/office/drawing/2014/main" id="{45C7E3C4-6FBD-0782-B645-29ED2FB24A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39749" y="4077618"/>
            <a:ext cx="1708149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E8692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Threats</a:t>
            </a:r>
            <a:endParaRPr lang="nl-NL"/>
          </a:p>
        </p:txBody>
      </p:sp>
      <p:sp>
        <p:nvSpPr>
          <p:cNvPr id="34" name="Tijdelijke aanduiding voor tekst 24">
            <a:extLst>
              <a:ext uri="{FF2B5EF4-FFF2-40B4-BE49-F238E27FC236}">
                <a16:creationId xmlns:a16="http://schemas.microsoft.com/office/drawing/2014/main" id="{936F3B35-905F-0C05-2CC6-F03667A3EB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9749" y="4551430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2601913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-1"/>
            <a:ext cx="11347060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3903D-37C9-DF4F-83A5-BD57ADBE2553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ACF1038D-30ED-296B-FD3A-781692693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28319" y="1944849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FA598ED2-D5C7-EE42-132E-A167C28A1B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2329" y="1950846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4" name="Tijdelijke aanduiding voor tekst 11">
            <a:extLst>
              <a:ext uri="{FF2B5EF4-FFF2-40B4-BE49-F238E27FC236}">
                <a16:creationId xmlns:a16="http://schemas.microsoft.com/office/drawing/2014/main" id="{3DD24851-04AF-12AB-FE60-AD021984BF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309" y="1944849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5" name="Tijdelijke aanduiding voor tekst 11">
            <a:extLst>
              <a:ext uri="{FF2B5EF4-FFF2-40B4-BE49-F238E27FC236}">
                <a16:creationId xmlns:a16="http://schemas.microsoft.com/office/drawing/2014/main" id="{EAAE9CDC-F402-04DD-0172-48062FF69A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6339" y="1931602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69DED3B8-C92B-B7AF-2787-4155B044588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84098" y="2300967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19" name="Tijdelijke aanduiding voor afbeelding 17">
            <a:extLst>
              <a:ext uri="{FF2B5EF4-FFF2-40B4-BE49-F238E27FC236}">
                <a16:creationId xmlns:a16="http://schemas.microsoft.com/office/drawing/2014/main" id="{52BDA4E1-0A93-0F7E-A632-C7C852E902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067" y="2306964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0" name="Tijdelijke aanduiding voor afbeelding 17">
            <a:extLst>
              <a:ext uri="{FF2B5EF4-FFF2-40B4-BE49-F238E27FC236}">
                <a16:creationId xmlns:a16="http://schemas.microsoft.com/office/drawing/2014/main" id="{9DA37489-305F-F3E3-86FD-B7E5E7D377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60048" y="2300967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1" name="Tijdelijke aanduiding voor afbeelding 17">
            <a:extLst>
              <a:ext uri="{FF2B5EF4-FFF2-40B4-BE49-F238E27FC236}">
                <a16:creationId xmlns:a16="http://schemas.microsoft.com/office/drawing/2014/main" id="{7F6C8360-C076-F1E4-90E0-BA8C0FA054D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32077" y="2287720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8" name="Tijdelijke aanduiding voor tekst 24">
            <a:extLst>
              <a:ext uri="{FF2B5EF4-FFF2-40B4-BE49-F238E27FC236}">
                <a16:creationId xmlns:a16="http://schemas.microsoft.com/office/drawing/2014/main" id="{BC8817D3-5FC3-2EAB-37EE-54DF6AF762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85294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73697669-61CE-1436-85B6-974B87CDCC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8075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A58AB3DB-0FEF-B702-5751-2C5F42D002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62513" y="3691092"/>
            <a:ext cx="1708149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EDA42C42-7886-322E-1941-6D1ED8850A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62513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4" name="Tijdelijke aanduiding voor tekst 24">
            <a:extLst>
              <a:ext uri="{FF2B5EF4-FFF2-40B4-BE49-F238E27FC236}">
                <a16:creationId xmlns:a16="http://schemas.microsoft.com/office/drawing/2014/main" id="{936F3B35-905F-0C05-2CC6-F03667A3EB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0856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17" name="Tijdelijke aanduiding voor tekst 11">
            <a:extLst>
              <a:ext uri="{FF2B5EF4-FFF2-40B4-BE49-F238E27FC236}">
                <a16:creationId xmlns:a16="http://schemas.microsoft.com/office/drawing/2014/main" id="{EAE29FCE-BB26-DB17-58FE-69373789ED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00349" y="1931602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22" name="Tijdelijke aanduiding voor afbeelding 17">
            <a:extLst>
              <a:ext uri="{FF2B5EF4-FFF2-40B4-BE49-F238E27FC236}">
                <a16:creationId xmlns:a16="http://schemas.microsoft.com/office/drawing/2014/main" id="{F7E61329-26B3-E114-E1A2-04BBB56F4D8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56087" y="2287720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DD758F4E-5DB3-B351-52B2-485A5B5790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4360" y="1931602"/>
            <a:ext cx="1363331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24" name="Tijdelijke aanduiding voor afbeelding 17">
            <a:extLst>
              <a:ext uri="{FF2B5EF4-FFF2-40B4-BE49-F238E27FC236}">
                <a16:creationId xmlns:a16="http://schemas.microsoft.com/office/drawing/2014/main" id="{F6728F44-6395-1E42-FC66-2497AF37FAD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580098" y="2287720"/>
            <a:ext cx="651854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6" name="Tijdelijke aanduiding voor tekst 24">
            <a:extLst>
              <a:ext uri="{FF2B5EF4-FFF2-40B4-BE49-F238E27FC236}">
                <a16:creationId xmlns:a16="http://schemas.microsoft.com/office/drawing/2014/main" id="{D705D414-994D-81A8-D45E-C4FFDDECF7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9732" y="3691092"/>
            <a:ext cx="1708149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35" name="Tijdelijke aanduiding voor tekst 24">
            <a:extLst>
              <a:ext uri="{FF2B5EF4-FFF2-40B4-BE49-F238E27FC236}">
                <a16:creationId xmlns:a16="http://schemas.microsoft.com/office/drawing/2014/main" id="{943FE81D-2D6B-E2AA-E6B3-6B41B18A0B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732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7" name="Tijdelijke aanduiding voor tekst 24">
            <a:extLst>
              <a:ext uri="{FF2B5EF4-FFF2-40B4-BE49-F238E27FC236}">
                <a16:creationId xmlns:a16="http://schemas.microsoft.com/office/drawing/2014/main" id="{B83AD5DD-6953-C57A-DA42-402630F3263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53639" y="4164904"/>
            <a:ext cx="1708149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6" name="Tijdelijke aanduiding voor tekst 24">
            <a:extLst>
              <a:ext uri="{FF2B5EF4-FFF2-40B4-BE49-F238E27FC236}">
                <a16:creationId xmlns:a16="http://schemas.microsoft.com/office/drawing/2014/main" id="{243C9549-E64B-BC91-C560-4C0B2019F98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79900" y="3691092"/>
            <a:ext cx="1708149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7" name="Tijdelijke aanduiding voor tekst 24">
            <a:extLst>
              <a:ext uri="{FF2B5EF4-FFF2-40B4-BE49-F238E27FC236}">
                <a16:creationId xmlns:a16="http://schemas.microsoft.com/office/drawing/2014/main" id="{B62B8306-419E-0FF2-1166-AE257AA0BA3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5541" y="3691092"/>
            <a:ext cx="1708149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8" name="Tijdelijke aanduiding voor tekst 24">
            <a:extLst>
              <a:ext uri="{FF2B5EF4-FFF2-40B4-BE49-F238E27FC236}">
                <a16:creationId xmlns:a16="http://schemas.microsoft.com/office/drawing/2014/main" id="{DDBB2375-1D5E-8500-DF97-445BC2F84E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30856" y="3691092"/>
            <a:ext cx="1708149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9" name="Tijdelijke aanduiding voor tekst 24">
            <a:extLst>
              <a:ext uri="{FF2B5EF4-FFF2-40B4-BE49-F238E27FC236}">
                <a16:creationId xmlns:a16="http://schemas.microsoft.com/office/drawing/2014/main" id="{C68537F8-7A57-286A-D74C-783A364C1ED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53639" y="3691092"/>
            <a:ext cx="1708149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699190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-1"/>
            <a:ext cx="11347060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47746-B111-BC41-98EF-10AD124C6A1B}" type="datetime1">
              <a:rPr lang="nl-NL" smtClean="0"/>
              <a:t>8-12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882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1132998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1D17588-C704-D648-BEE6-9E3EC7403CFC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10978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28763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onsors/partners, VU logo only">
    <p:bg>
      <p:bgPr>
        <a:solidFill>
          <a:srgbClr val="F2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8D432198-0C84-3D05-D248-CEFA63544C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70" y="2159000"/>
            <a:ext cx="12185650" cy="46990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AD303578-903C-A34A-AF9B-392F1BD2B760}"/>
              </a:ext>
            </a:extLst>
          </p:cNvPr>
          <p:cNvSpPr/>
          <p:nvPr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5" name="TypeTextLevel">
            <a:extLst>
              <a:ext uri="{FF2B5EF4-FFF2-40B4-BE49-F238E27FC236}">
                <a16:creationId xmlns:a16="http://schemas.microsoft.com/office/drawing/2014/main" id="{D6489275-1A54-4253-9B79-42FA5F1E321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83FBF2E-73CB-2744-ABB2-73A4A75C7B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2" name="Rechthoek 10">
            <a:extLst>
              <a:ext uri="{FF2B5EF4-FFF2-40B4-BE49-F238E27FC236}">
                <a16:creationId xmlns:a16="http://schemas.microsoft.com/office/drawing/2014/main" id="{A1E4614B-F8C1-F807-0D19-4A2AC0E259EF}"/>
              </a:ext>
            </a:extLst>
          </p:cNvPr>
          <p:cNvSpPr/>
          <p:nvPr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3" name="TypeTextLevel">
            <a:extLst>
              <a:ext uri="{FF2B5EF4-FFF2-40B4-BE49-F238E27FC236}">
                <a16:creationId xmlns:a16="http://schemas.microsoft.com/office/drawing/2014/main" id="{5FB4F674-32B3-8E78-FF3A-7F7F5276A12B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4" name="Afbeelding 5">
            <a:extLst>
              <a:ext uri="{FF2B5EF4-FFF2-40B4-BE49-F238E27FC236}">
                <a16:creationId xmlns:a16="http://schemas.microsoft.com/office/drawing/2014/main" id="{6F322878-98A8-CCB3-BCCA-67EE227609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7" name="Rechthoek 10">
            <a:extLst>
              <a:ext uri="{FF2B5EF4-FFF2-40B4-BE49-F238E27FC236}">
                <a16:creationId xmlns:a16="http://schemas.microsoft.com/office/drawing/2014/main" id="{CFF6F5A1-FCB1-A410-77D0-054CE5B6C702}"/>
              </a:ext>
            </a:extLst>
          </p:cNvPr>
          <p:cNvSpPr/>
          <p:nvPr userDrawn="1"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TypeTextLevel">
            <a:extLst>
              <a:ext uri="{FF2B5EF4-FFF2-40B4-BE49-F238E27FC236}">
                <a16:creationId xmlns:a16="http://schemas.microsoft.com/office/drawing/2014/main" id="{C66410A8-605F-4D5A-7060-BCD136B075F3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10" name="Afbeelding 5">
            <a:extLst>
              <a:ext uri="{FF2B5EF4-FFF2-40B4-BE49-F238E27FC236}">
                <a16:creationId xmlns:a16="http://schemas.microsoft.com/office/drawing/2014/main" id="{CC9CFB68-64C3-93DE-E7D8-9829908764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B428526-287A-244A-8A85-27B89673C4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450851" y="1576388"/>
            <a:ext cx="11299824" cy="2316176"/>
          </a:xfrm>
          <a:prstGeom prst="rect">
            <a:avLst/>
          </a:pr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100000" sy="100000" flip="none" algn="bl"/>
          </a:blipFill>
        </p:spPr>
        <p:txBody>
          <a:bodyPr wrap="square" lIns="442800" tIns="442800" rIns="442800" bIns="442800">
            <a:spAutoFit/>
          </a:bodyPr>
          <a:lstStyle>
            <a:lvl1pPr>
              <a:lnSpc>
                <a:spcPct val="90000"/>
              </a:lnSpc>
              <a:spcAft>
                <a:spcPts val="1200"/>
              </a:spcAft>
              <a:defRPr sz="3200" b="1" i="0">
                <a:solidFill>
                  <a:schemeClr val="bg2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</p:txBody>
      </p:sp>
    </p:spTree>
    <p:extLst>
      <p:ext uri="{BB962C8B-B14F-4D97-AF65-F5344CB8AC3E}">
        <p14:creationId xmlns:p14="http://schemas.microsoft.com/office/powerpoint/2010/main" val="3151972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2" userDrawn="1">
          <p15:clr>
            <a:srgbClr val="FBAE40"/>
          </p15:clr>
        </p15:guide>
        <p15:guide id="2" orient="horz" pos="295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s/partners, faculty/department">
    <p:bg>
      <p:bgPr>
        <a:solidFill>
          <a:srgbClr val="F2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DA370F1E-3BAF-1B37-EF10-3C2B67B065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970" y="2159000"/>
            <a:ext cx="12185650" cy="46990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AD303578-903C-A34A-AF9B-392F1BD2B760}"/>
              </a:ext>
            </a:extLst>
          </p:cNvPr>
          <p:cNvSpPr/>
          <p:nvPr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044E1D69-4E50-474F-B8E2-B92F4F8635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1857" y="455857"/>
            <a:ext cx="2902743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>
              <a:lnSpc>
                <a:spcPct val="100000"/>
              </a:lnSpc>
              <a:defRPr sz="1100" cap="all" baseline="0">
                <a:solidFill>
                  <a:schemeClr val="tx1"/>
                </a:solidFill>
              </a:defRPr>
            </a:lvl1pPr>
          </a:lstStyle>
          <a:p>
            <a:r>
              <a:rPr lang="nl-NL"/>
              <a:t>Type </a:t>
            </a:r>
            <a:r>
              <a:rPr lang="nl-NL" err="1"/>
              <a:t>faculty</a:t>
            </a:r>
            <a:r>
              <a:rPr lang="nl-NL"/>
              <a:t> or </a:t>
            </a:r>
            <a:r>
              <a:rPr lang="nl-NL" err="1"/>
              <a:t>department</a:t>
            </a:r>
            <a:r>
              <a:rPr lang="nl-NL"/>
              <a:t> name here. (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only</a:t>
            </a:r>
            <a:r>
              <a:rPr lang="nl-NL"/>
              <a:t> VU logo is </a:t>
            </a:r>
            <a:r>
              <a:rPr lang="nl-NL" err="1"/>
              <a:t>needed</a:t>
            </a:r>
            <a:r>
              <a:rPr lang="nl-NL"/>
              <a:t>, </a:t>
            </a:r>
            <a:r>
              <a:rPr lang="nl-NL" err="1"/>
              <a:t>choos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other</a:t>
            </a:r>
            <a:r>
              <a:rPr lang="nl-NL"/>
              <a:t> cover </a:t>
            </a:r>
            <a:r>
              <a:rPr lang="nl-NL" err="1"/>
              <a:t>layout</a:t>
            </a:r>
            <a:r>
              <a:rPr lang="nl-NL"/>
              <a:t>)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FCB0984-B48F-41EB-BF9A-E2EB899248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3202" y="459581"/>
            <a:ext cx="682605" cy="784225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D18C03A2-AA0D-CB43-9EF7-8D4AE80B9D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2" name="Rechthoek 10">
            <a:extLst>
              <a:ext uri="{FF2B5EF4-FFF2-40B4-BE49-F238E27FC236}">
                <a16:creationId xmlns:a16="http://schemas.microsoft.com/office/drawing/2014/main" id="{13700AA2-E2BE-88B2-DAC1-76B4EEBB3DE5}"/>
              </a:ext>
            </a:extLst>
          </p:cNvPr>
          <p:cNvSpPr/>
          <p:nvPr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B8CC2F80-4280-9206-B112-6BFE047C86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3202" y="459581"/>
            <a:ext cx="682605" cy="784225"/>
          </a:xfrm>
          <a:prstGeom prst="rect">
            <a:avLst/>
          </a:prstGeom>
        </p:spPr>
      </p:pic>
      <p:pic>
        <p:nvPicPr>
          <p:cNvPr id="5" name="Afbeelding 12">
            <a:extLst>
              <a:ext uri="{FF2B5EF4-FFF2-40B4-BE49-F238E27FC236}">
                <a16:creationId xmlns:a16="http://schemas.microsoft.com/office/drawing/2014/main" id="{A2CE053B-A946-E44A-B933-3BE247D482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6" name="Rechthoek 10">
            <a:extLst>
              <a:ext uri="{FF2B5EF4-FFF2-40B4-BE49-F238E27FC236}">
                <a16:creationId xmlns:a16="http://schemas.microsoft.com/office/drawing/2014/main" id="{2D8BB084-FD43-55AE-2C00-027A9C9ECEF1}"/>
              </a:ext>
            </a:extLst>
          </p:cNvPr>
          <p:cNvSpPr/>
          <p:nvPr userDrawn="1"/>
        </p:nvSpPr>
        <p:spPr>
          <a:xfrm>
            <a:off x="3969" y="0"/>
            <a:ext cx="12193588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4" name="Afbeelding 9">
            <a:extLst>
              <a:ext uri="{FF2B5EF4-FFF2-40B4-BE49-F238E27FC236}">
                <a16:creationId xmlns:a16="http://schemas.microsoft.com/office/drawing/2014/main" id="{9AD85334-4EC5-1C08-CC37-F4CE7306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3202" y="459581"/>
            <a:ext cx="682605" cy="784225"/>
          </a:xfrm>
          <a:prstGeom prst="rect">
            <a:avLst/>
          </a:prstGeom>
        </p:spPr>
      </p:pic>
      <p:pic>
        <p:nvPicPr>
          <p:cNvPr id="15" name="Afbeelding 12">
            <a:extLst>
              <a:ext uri="{FF2B5EF4-FFF2-40B4-BE49-F238E27FC236}">
                <a16:creationId xmlns:a16="http://schemas.microsoft.com/office/drawing/2014/main" id="{1AE91431-9BF1-4F73-2BFE-44F5DA0E93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2" y="501839"/>
            <a:ext cx="2344002" cy="565200"/>
          </a:xfrm>
          <a:prstGeom prst="rect">
            <a:avLst/>
          </a:prstGeom>
        </p:spPr>
      </p:pic>
      <p:sp>
        <p:nvSpPr>
          <p:cNvPr id="16" name="Tijdelijke aanduiding voor tekst 4">
            <a:extLst>
              <a:ext uri="{FF2B5EF4-FFF2-40B4-BE49-F238E27FC236}">
                <a16:creationId xmlns:a16="http://schemas.microsoft.com/office/drawing/2014/main" id="{A9DEE8B9-6932-5A10-8846-650ACA53BD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1857" y="433632"/>
            <a:ext cx="3111490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>
              <a:lnSpc>
                <a:spcPct val="100000"/>
              </a:lnSpc>
              <a:defRPr sz="1100" b="0" cap="all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</a:lstStyle>
          <a:p>
            <a:r>
              <a:rPr lang="nl-NL"/>
              <a:t>Type </a:t>
            </a:r>
            <a:r>
              <a:rPr lang="nl-NL" err="1"/>
              <a:t>faculty</a:t>
            </a:r>
            <a:r>
              <a:rPr lang="nl-NL"/>
              <a:t> or Research </a:t>
            </a:r>
            <a:r>
              <a:rPr lang="nl-NL" err="1"/>
              <a:t>institute</a:t>
            </a:r>
            <a:r>
              <a:rPr lang="nl-NL"/>
              <a:t> name  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only</a:t>
            </a:r>
            <a:r>
              <a:rPr lang="nl-NL"/>
              <a:t> VU logo is </a:t>
            </a:r>
            <a:r>
              <a:rPr lang="nl-NL" err="1"/>
              <a:t>needed</a:t>
            </a:r>
            <a:r>
              <a:rPr lang="nl-NL"/>
              <a:t>, </a:t>
            </a:r>
            <a:r>
              <a:rPr lang="nl-NL" err="1"/>
              <a:t>choos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other</a:t>
            </a:r>
            <a:r>
              <a:rPr lang="nl-NL"/>
              <a:t> cover </a:t>
            </a:r>
            <a:r>
              <a:rPr lang="nl-NL" err="1"/>
              <a:t>layout</a:t>
            </a:r>
            <a:r>
              <a:rPr lang="nl-NL"/>
              <a:t>)</a:t>
            </a:r>
          </a:p>
        </p:txBody>
      </p:sp>
      <p:sp>
        <p:nvSpPr>
          <p:cNvPr id="7" name="Tijdelijke aanduiding voor tekst 8">
            <a:extLst>
              <a:ext uri="{FF2B5EF4-FFF2-40B4-BE49-F238E27FC236}">
                <a16:creationId xmlns:a16="http://schemas.microsoft.com/office/drawing/2014/main" id="{17FBE25F-C38A-BF64-1EC5-C29E45FE223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851" y="1576388"/>
            <a:ext cx="11299824" cy="2316176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tile tx="0" ty="0" sx="100000" sy="100000" flip="none" algn="bl"/>
          </a:blipFill>
        </p:spPr>
        <p:txBody>
          <a:bodyPr wrap="square" lIns="442800" tIns="442800" rIns="442800" bIns="442800">
            <a:spAutoFit/>
          </a:bodyPr>
          <a:lstStyle>
            <a:lvl1pPr>
              <a:lnSpc>
                <a:spcPct val="90000"/>
              </a:lnSpc>
              <a:spcAft>
                <a:spcPts val="1200"/>
              </a:spcAft>
              <a:defRPr sz="3200" b="1" i="0">
                <a:solidFill>
                  <a:schemeClr val="bg2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</p:txBody>
      </p:sp>
    </p:spTree>
    <p:extLst>
      <p:ext uri="{BB962C8B-B14F-4D97-AF65-F5344CB8AC3E}">
        <p14:creationId xmlns:p14="http://schemas.microsoft.com/office/powerpoint/2010/main" val="2455578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7C2040-10AE-6EB7-903B-4429DFD591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5588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B59F9D1-1EC5-5B8C-5D69-C0C21350AF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558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3002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7FFFE8-6AC7-7140-8110-04F7FB259C68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592" y="1576388"/>
            <a:ext cx="7480996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16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 spac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 userDrawn="1"/>
        </p:nvSpPr>
        <p:spPr>
          <a:xfrm>
            <a:off x="3324314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60000" tIns="360000" rIns="360000" bIns="360000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D31B9B-2D56-F1E2-0C00-3D9571B263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B9ACC9-3552-A54F-B368-746B6F1130C1}" type="datetime1">
              <a:rPr lang="nl-NL" smtClean="0"/>
              <a:t>8-12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8ADA60-27A2-50CF-7DEB-D2834BF655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C40599-0636-A660-D459-700566FE4E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1927949-40B9-E8F6-B2A7-A1D3941345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1576388"/>
            <a:ext cx="7480300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E77755D-D3C4-B1C7-3558-0D0EA1AAB8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0"/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709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80270B-3448-6B45-BB7C-3A91A89789CE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592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C2948E4-551F-62B1-D595-BE479FDEE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8000" y="1576388"/>
            <a:ext cx="3632201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818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6DC722-18BC-C743-9707-4A8697D77286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1074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/3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DB55310-E44C-574A-97FB-66E2F7CF03EA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592" y="1576388"/>
            <a:ext cx="3632201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C2948E4-551F-62B1-D595-BE479FDEE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8000" y="1576388"/>
            <a:ext cx="3632201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997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576388"/>
            <a:ext cx="3632201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 userDrawn="1"/>
        </p:nvSpPr>
        <p:spPr>
          <a:xfrm>
            <a:off x="-1680864" y="188640"/>
            <a:ext cx="16808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1A679E-99CA-954A-ABB1-C09D7ACDE1C7}" type="datetime1">
              <a:rPr lang="nl-NL" smtClean="0"/>
              <a:t>8-12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Name of the Faculty or Research Institute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592" y="1576388"/>
            <a:ext cx="7480996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model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27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9FEE1C-E918-55FF-4E0D-803BBB295A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086913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59" imgH="355" progId="TCLayout.ActiveDocument.1">
                  <p:embed/>
                </p:oleObj>
              </mc:Choice>
              <mc:Fallback>
                <p:oleObj name="think-cell Slide" r:id="rId35" imgW="359" imgH="35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9FEE1C-E918-55FF-4E0D-803BBB295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27665E69-18C9-CF48-BFCD-B5F193A54EE1}"/>
              </a:ext>
            </a:extLst>
          </p:cNvPr>
          <p:cNvSpPr/>
          <p:nvPr/>
        </p:nvSpPr>
        <p:spPr>
          <a:xfrm flipH="1">
            <a:off x="-1" y="2"/>
            <a:ext cx="12193200" cy="11448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1999" y="5994400"/>
            <a:ext cx="492233" cy="8635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1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840C1E0B-154D-844F-9C3C-CB8827A7EAB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6ED97E-E821-4DC0-8C69-9551871955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76388"/>
            <a:ext cx="11329989" cy="4418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  <a:p>
            <a:pPr lvl="3"/>
            <a:r>
              <a:rPr lang="nl-NL" err="1"/>
              <a:t>Bullet</a:t>
            </a:r>
            <a:r>
              <a:rPr lang="nl-NL"/>
              <a:t> level 2</a:t>
            </a:r>
          </a:p>
          <a:p>
            <a:pPr lvl="4"/>
            <a:r>
              <a:rPr lang="nl-NL"/>
              <a:t>Small </a:t>
            </a:r>
            <a:r>
              <a:rPr lang="nl-NL" err="1"/>
              <a:t>text</a:t>
            </a:r>
            <a:endParaRPr lang="en-GB"/>
          </a:p>
        </p:txBody>
      </p:sp>
      <p:sp>
        <p:nvSpPr>
          <p:cNvPr id="5" name="Ruit 4">
            <a:extLst>
              <a:ext uri="{FF2B5EF4-FFF2-40B4-BE49-F238E27FC236}">
                <a16:creationId xmlns:a16="http://schemas.microsoft.com/office/drawing/2014/main" id="{69BFFA70-8EB0-7E3D-8E1F-602486376092}"/>
              </a:ext>
            </a:extLst>
          </p:cNvPr>
          <p:cNvSpPr/>
          <p:nvPr/>
        </p:nvSpPr>
        <p:spPr>
          <a:xfrm>
            <a:off x="431999" y="939299"/>
            <a:ext cx="410999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0C4C011C-3E2B-6C67-72AD-D1636F14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79900" y="5994400"/>
            <a:ext cx="1708150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1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E9CFB3E0-4166-804B-9D3E-7280F6BFA59E}" type="datetime1">
              <a:rPr lang="nl-NL" smtClean="0"/>
              <a:t>8-12-2025</a:t>
            </a:fld>
            <a:endParaRPr lang="nl-NL"/>
          </a:p>
        </p:txBody>
      </p:sp>
      <p:pic>
        <p:nvPicPr>
          <p:cNvPr id="11" name="Afbeelding 5">
            <a:extLst>
              <a:ext uri="{FF2B5EF4-FFF2-40B4-BE49-F238E27FC236}">
                <a16:creationId xmlns:a16="http://schemas.microsoft.com/office/drawing/2014/main" id="{2AFAC8CD-A22B-2A6C-A407-1E5B26CEE9B6}"/>
              </a:ext>
            </a:extLst>
          </p:cNvPr>
          <p:cNvPicPr>
            <a:picLocks noChangeAspect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3327" y="6118049"/>
            <a:ext cx="1105257" cy="609600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D6E26044-C798-E27B-8AE3-8127B1E02653}"/>
              </a:ext>
            </a:extLst>
          </p:cNvPr>
          <p:cNvSpPr>
            <a:spLocks/>
          </p:cNvSpPr>
          <p:nvPr/>
        </p:nvSpPr>
        <p:spPr>
          <a:xfrm flipH="1">
            <a:off x="-1" y="2"/>
            <a:ext cx="12193200" cy="11448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uit 4">
            <a:extLst>
              <a:ext uri="{FF2B5EF4-FFF2-40B4-BE49-F238E27FC236}">
                <a16:creationId xmlns:a16="http://schemas.microsoft.com/office/drawing/2014/main" id="{E8802368-AA84-2C7B-B037-21D2F5AFBA20}"/>
              </a:ext>
            </a:extLst>
          </p:cNvPr>
          <p:cNvSpPr/>
          <p:nvPr/>
        </p:nvSpPr>
        <p:spPr>
          <a:xfrm>
            <a:off x="431999" y="939299"/>
            <a:ext cx="410999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2" name="Afbeelding 5">
            <a:extLst>
              <a:ext uri="{FF2B5EF4-FFF2-40B4-BE49-F238E27FC236}">
                <a16:creationId xmlns:a16="http://schemas.microsoft.com/office/drawing/2014/main" id="{BEA310B8-29E9-EA3F-7678-19C0B0DFD76C}"/>
              </a:ext>
            </a:extLst>
          </p:cNvPr>
          <p:cNvPicPr>
            <a:picLocks noChangeAspect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3327" y="6118049"/>
            <a:ext cx="1105257" cy="609600"/>
          </a:xfrm>
          <a:prstGeom prst="rect">
            <a:avLst/>
          </a:prstGeom>
        </p:spPr>
      </p:pic>
      <p:sp>
        <p:nvSpPr>
          <p:cNvPr id="14" name="Ruit 4">
            <a:extLst>
              <a:ext uri="{FF2B5EF4-FFF2-40B4-BE49-F238E27FC236}">
                <a16:creationId xmlns:a16="http://schemas.microsoft.com/office/drawing/2014/main" id="{36333E8B-B86D-4C66-F2C8-60AC41745922}"/>
              </a:ext>
            </a:extLst>
          </p:cNvPr>
          <p:cNvSpPr/>
          <p:nvPr userDrawn="1"/>
        </p:nvSpPr>
        <p:spPr>
          <a:xfrm>
            <a:off x="431999" y="939299"/>
            <a:ext cx="410999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5" name="Afbeelding 5">
            <a:extLst>
              <a:ext uri="{FF2B5EF4-FFF2-40B4-BE49-F238E27FC236}">
                <a16:creationId xmlns:a16="http://schemas.microsoft.com/office/drawing/2014/main" id="{102F2A4A-0072-1987-C765-5D8D568740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3327" y="6118049"/>
            <a:ext cx="1105257" cy="609600"/>
          </a:xfrm>
          <a:prstGeom prst="rect">
            <a:avLst/>
          </a:prstGeom>
        </p:spPr>
      </p:pic>
      <p:sp>
        <p:nvSpPr>
          <p:cNvPr id="16" name="Tijdelijke aanduiding voor titel 15">
            <a:extLst>
              <a:ext uri="{FF2B5EF4-FFF2-40B4-BE49-F238E27FC236}">
                <a16:creationId xmlns:a16="http://schemas.microsoft.com/office/drawing/2014/main" id="{B3719A78-ECB9-A945-D814-B19F3D7F8C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31799" y="1"/>
            <a:ext cx="11329789" cy="1144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17" name="Tijdelijke aanduiding voor voettekst 16">
            <a:extLst>
              <a:ext uri="{FF2B5EF4-FFF2-40B4-BE49-F238E27FC236}">
                <a16:creationId xmlns:a16="http://schemas.microsoft.com/office/drawing/2014/main" id="{3725892D-53A1-5BB9-D87C-B13C34037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3001" y="5994400"/>
            <a:ext cx="2921000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nl-NL" sz="11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ame of the Faculty or Research Institute</a:t>
            </a:r>
          </a:p>
        </p:txBody>
      </p:sp>
    </p:spTree>
    <p:extLst>
      <p:ext uri="{BB962C8B-B14F-4D97-AF65-F5344CB8AC3E}">
        <p14:creationId xmlns:p14="http://schemas.microsoft.com/office/powerpoint/2010/main" val="1855048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0" r:id="rId2"/>
    <p:sldLayoutId id="2147483921" r:id="rId3"/>
    <p:sldLayoutId id="2147483952" r:id="rId4"/>
    <p:sldLayoutId id="2147483950" r:id="rId5"/>
    <p:sldLayoutId id="2147483953" r:id="rId6"/>
    <p:sldLayoutId id="2147483958" r:id="rId7"/>
    <p:sldLayoutId id="2147483954" r:id="rId8"/>
    <p:sldLayoutId id="2147483962" r:id="rId9"/>
    <p:sldLayoutId id="2147483963" r:id="rId10"/>
    <p:sldLayoutId id="2147483922" r:id="rId11"/>
    <p:sldLayoutId id="2147483966" r:id="rId12"/>
    <p:sldLayoutId id="2147483967" r:id="rId13"/>
    <p:sldLayoutId id="2147483923" r:id="rId14"/>
    <p:sldLayoutId id="2147483965" r:id="rId15"/>
    <p:sldLayoutId id="2147483968" r:id="rId16"/>
    <p:sldLayoutId id="2147483959" r:id="rId17"/>
    <p:sldLayoutId id="2147483955" r:id="rId18"/>
    <p:sldLayoutId id="2147483951" r:id="rId19"/>
    <p:sldLayoutId id="2147483925" r:id="rId20"/>
    <p:sldLayoutId id="2147483970" r:id="rId21"/>
    <p:sldLayoutId id="2147483926" r:id="rId22"/>
    <p:sldLayoutId id="2147483964" r:id="rId23"/>
    <p:sldLayoutId id="2147483928" r:id="rId24"/>
    <p:sldLayoutId id="2147483949" r:id="rId25"/>
    <p:sldLayoutId id="2147483939" r:id="rId26"/>
    <p:sldLayoutId id="2147483901" r:id="rId27"/>
    <p:sldLayoutId id="2147483957" r:id="rId28"/>
    <p:sldLayoutId id="2147483956" r:id="rId29"/>
    <p:sldLayoutId id="2147483969" r:id="rId30"/>
    <p:sldLayoutId id="2147483930" r:id="rId31"/>
    <p:sldLayoutId id="2147483931" r:id="rId32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None/>
        <a:defRPr sz="2000" b="0" i="0" kern="1200">
          <a:solidFill>
            <a:srgbClr val="0077B3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None/>
        <a:tabLst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Char char="•"/>
        <a:tabLst/>
        <a:defRPr sz="2000" b="0" i="0" kern="1200" baseline="0">
          <a:solidFill>
            <a:schemeClr val="tx1"/>
          </a:solidFill>
          <a:latin typeface="+mn-lt"/>
          <a:ea typeface="+mn-ea"/>
          <a:cs typeface="Aptos" panose="020B0004020202020204" pitchFamily="34" charset="0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rgbClr val="0077B3"/>
        </a:buClr>
        <a:buFont typeface="Aptos" panose="020B0004020202020204" pitchFamily="34" charset="0"/>
        <a:buChar char="o"/>
        <a:tabLst/>
        <a:defRPr lang="en-US" sz="2000" b="0" i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Tx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1" userDrawn="1">
          <p15:clr>
            <a:srgbClr val="F26B43"/>
          </p15:clr>
        </p15:guide>
        <p15:guide id="42" pos="7681" userDrawn="1">
          <p15:clr>
            <a:srgbClr val="F26B43"/>
          </p15:clr>
        </p15:guide>
        <p15:guide id="43" pos="272" userDrawn="1">
          <p15:clr>
            <a:srgbClr val="F26B43"/>
          </p15:clr>
        </p15:guide>
        <p15:guide id="44" pos="1348" userDrawn="1">
          <p15:clr>
            <a:srgbClr val="F26B43"/>
          </p15:clr>
        </p15:guide>
        <p15:guide id="45" pos="1484" userDrawn="1">
          <p15:clr>
            <a:srgbClr val="F26B43"/>
          </p15:clr>
        </p15:guide>
        <p15:guide id="46" pos="2560" userDrawn="1">
          <p15:clr>
            <a:srgbClr val="F26B43"/>
          </p15:clr>
        </p15:guide>
        <p15:guide id="47" pos="2696" userDrawn="1">
          <p15:clr>
            <a:srgbClr val="F26B43"/>
          </p15:clr>
        </p15:guide>
        <p15:guide id="48" pos="3772" userDrawn="1">
          <p15:clr>
            <a:srgbClr val="F26B43"/>
          </p15:clr>
        </p15:guide>
        <p15:guide id="49" pos="3908" userDrawn="1">
          <p15:clr>
            <a:srgbClr val="F26B43"/>
          </p15:clr>
        </p15:guide>
        <p15:guide id="50" pos="4984" userDrawn="1">
          <p15:clr>
            <a:srgbClr val="F26B43"/>
          </p15:clr>
        </p15:guide>
        <p15:guide id="51" pos="5120" userDrawn="1">
          <p15:clr>
            <a:srgbClr val="F26B43"/>
          </p15:clr>
        </p15:guide>
        <p15:guide id="52" pos="6196" userDrawn="1">
          <p15:clr>
            <a:srgbClr val="F26B43"/>
          </p15:clr>
        </p15:guide>
        <p15:guide id="53" pos="6332" userDrawn="1">
          <p15:clr>
            <a:srgbClr val="F26B43"/>
          </p15:clr>
        </p15:guide>
        <p15:guide id="54" pos="7409" userDrawn="1">
          <p15:clr>
            <a:srgbClr val="F26B43"/>
          </p15:clr>
        </p15:guide>
        <p15:guide id="55" orient="horz" userDrawn="1">
          <p15:clr>
            <a:srgbClr val="F26B43"/>
          </p15:clr>
        </p15:guide>
        <p15:guide id="56" orient="horz" pos="4320" userDrawn="1">
          <p15:clr>
            <a:srgbClr val="F26B43"/>
          </p15:clr>
        </p15:guide>
        <p15:guide id="57" orient="horz" pos="993" userDrawn="1">
          <p15:clr>
            <a:srgbClr val="F26B43"/>
          </p15:clr>
        </p15:guide>
        <p15:guide id="58" orient="horz" pos="3776" userDrawn="1">
          <p15:clr>
            <a:srgbClr val="F26B43"/>
          </p15:clr>
        </p15:guide>
        <p15:guide id="59" orient="horz" pos="721" userDrawn="1">
          <p15:clr>
            <a:srgbClr val="F26B43"/>
          </p15:clr>
        </p15:guide>
        <p15:guide id="60" pos="7680" userDrawn="1">
          <p15:clr>
            <a:srgbClr val="F26B43"/>
          </p15:clr>
        </p15:guide>
        <p15:guide id="61" orient="horz" pos="2319" userDrawn="1">
          <p15:clr>
            <a:srgbClr val="F26B43"/>
          </p15:clr>
        </p15:guide>
        <p15:guide id="62" orient="horz" pos="24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A6561D-3461-0E92-981F-8F4B118192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1959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6561D-3461-0E92-981F-8F4B11819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541" y="623175"/>
            <a:ext cx="10974229" cy="4658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88" y="1457805"/>
            <a:ext cx="10995207" cy="4335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err="1"/>
              <a:t>Bullet</a:t>
            </a:r>
            <a:endParaRPr lang="nl-NL" noProof="0"/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3"/>
            <a:r>
              <a:rPr lang="nl-NL" noProof="0" err="1"/>
              <a:t>Text</a:t>
            </a:r>
            <a:endParaRPr lang="nl-NL" noProof="0"/>
          </a:p>
          <a:p>
            <a:pPr lvl="4"/>
            <a:r>
              <a:rPr lang="nl-NL" noProof="0" err="1"/>
              <a:t>Subtitle</a:t>
            </a:r>
            <a:r>
              <a:rPr lang="nl-NL" noProof="0"/>
              <a:t> #1</a:t>
            </a:r>
          </a:p>
          <a:p>
            <a:pPr lvl="5"/>
            <a:r>
              <a:rPr lang="nl-NL" noProof="0" err="1"/>
              <a:t>Subtitle</a:t>
            </a:r>
            <a:r>
              <a:rPr lang="nl-NL" noProof="0"/>
              <a:t> #2</a:t>
            </a:r>
          </a:p>
          <a:p>
            <a:pPr lvl="6"/>
            <a:r>
              <a:rPr lang="nl-NL" noProof="0" err="1"/>
              <a:t>Numeric</a:t>
            </a:r>
            <a:r>
              <a:rPr lang="nl-NL" noProof="0"/>
              <a:t> </a:t>
            </a:r>
            <a:r>
              <a:rPr lang="nl-NL" noProof="0" err="1"/>
              <a:t>bullet</a:t>
            </a:r>
            <a:endParaRPr lang="nl-NL" noProof="0"/>
          </a:p>
          <a:p>
            <a:pPr lvl="6"/>
            <a:r>
              <a:rPr lang="nl-NL" noProof="0"/>
              <a:t>Alfabetische </a:t>
            </a:r>
            <a:r>
              <a:rPr lang="nl-NL" noProof="0" err="1"/>
              <a:t>bullet</a:t>
            </a:r>
            <a:endParaRPr lang="nl-NL" noProof="0"/>
          </a:p>
          <a:p>
            <a:pPr lvl="8"/>
            <a:r>
              <a:rPr lang="nl-NL" noProof="0"/>
              <a:t>Source</a:t>
            </a:r>
          </a:p>
        </p:txBody>
      </p:sp>
      <p:grpSp>
        <p:nvGrpSpPr>
          <p:cNvPr id="15" name="GRID" hidden="1">
            <a:extLst>
              <a:ext uri="{FF2B5EF4-FFF2-40B4-BE49-F238E27FC236}">
                <a16:creationId xmlns:a16="http://schemas.microsoft.com/office/drawing/2014/main" id="{4129D105-9E64-446B-9706-45C80CEFF79A}"/>
              </a:ext>
            </a:extLst>
          </p:cNvPr>
          <p:cNvGrpSpPr/>
          <p:nvPr userDrawn="1"/>
        </p:nvGrpSpPr>
        <p:grpSpPr>
          <a:xfrm>
            <a:off x="-12034" y="0"/>
            <a:ext cx="12205622" cy="6858000"/>
            <a:chOff x="-12032" y="0"/>
            <a:chExt cx="12204032" cy="6858000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D9988B5-FF41-44BF-9EBA-8ED0383D0B4A}"/>
                </a:ext>
              </a:extLst>
            </p:cNvPr>
            <p:cNvSpPr/>
            <p:nvPr userDrawn="1"/>
          </p:nvSpPr>
          <p:spPr>
            <a:xfrm>
              <a:off x="-12032" y="0"/>
              <a:ext cx="12192000" cy="72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223B51F0-7066-4BAC-B391-CBE4243866E1}"/>
                </a:ext>
              </a:extLst>
            </p:cNvPr>
            <p:cNvSpPr/>
            <p:nvPr userDrawn="1"/>
          </p:nvSpPr>
          <p:spPr>
            <a:xfrm>
              <a:off x="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986314BC-5B6A-423E-A18F-BE67EEBFD0AA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59F3FC6-346A-4720-8A58-EF51F3E955F9}"/>
                </a:ext>
              </a:extLst>
            </p:cNvPr>
            <p:cNvSpPr/>
            <p:nvPr userDrawn="1"/>
          </p:nvSpPr>
          <p:spPr>
            <a:xfrm>
              <a:off x="0" y="1064525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3D4E2D73-574C-4613-A3A4-5612A2E130A4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52775937-D9EA-4974-9459-412AF5D1CBD4}"/>
                </a:ext>
              </a:extLst>
            </p:cNvPr>
            <p:cNvSpPr/>
            <p:nvPr userDrawn="1"/>
          </p:nvSpPr>
          <p:spPr>
            <a:xfrm>
              <a:off x="0" y="5806208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88A106C3-3B5C-4817-A9B9-E1AA65368768}"/>
              </a:ext>
            </a:extLst>
          </p:cNvPr>
          <p:cNvSpPr txBox="1"/>
          <p:nvPr userDrawn="1"/>
        </p:nvSpPr>
        <p:spPr>
          <a:xfrm>
            <a:off x="0" y="-621351"/>
            <a:ext cx="3994672" cy="18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nl-NL" sz="1000" b="0" cap="all" baseline="0" noProof="0">
                <a:solidFill>
                  <a:schemeClr val="accent2"/>
                </a:solidFill>
                <a:latin typeface="+mn-lt"/>
              </a:rPr>
              <a:t>INDELING</a:t>
            </a:r>
          </a:p>
        </p:txBody>
      </p:sp>
    </p:spTree>
    <p:extLst>
      <p:ext uri="{BB962C8B-B14F-4D97-AF65-F5344CB8AC3E}">
        <p14:creationId xmlns:p14="http://schemas.microsoft.com/office/powerpoint/2010/main" val="4229548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1D1D19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10000"/>
        <a:buFontTx/>
        <a:buBlip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1pPr>
      <a:lvl2pPr marL="536575" indent="-2698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2"/>
        </a:buClr>
        <a:buSzPct val="110000"/>
        <a:buFontTx/>
        <a:buBlip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tabLst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2pPr>
      <a:lvl3pPr marL="808038" indent="-271463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Segoe UI Light" panose="020B0502040204020203" pitchFamily="34" charset="0"/>
        <a:buChar char="–"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800" b="1" kern="1200">
          <a:solidFill>
            <a:srgbClr val="0089CF"/>
          </a:solidFill>
          <a:latin typeface="Aptos" panose="020B0004020202020204" pitchFamily="34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2800" b="0" kern="1200" cap="none" baseline="0">
          <a:solidFill>
            <a:srgbClr val="005690"/>
          </a:solidFill>
          <a:latin typeface="Aptos" panose="020B0004020202020204" pitchFamily="34" charset="0"/>
          <a:ea typeface="+mn-ea"/>
          <a:cs typeface="+mn-cs"/>
        </a:defRPr>
      </a:lvl6pPr>
      <a:lvl7pPr marL="268288" indent="-2682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+mj-lt"/>
        <a:buAutoNum type="arabicPeriod"/>
        <a:tabLst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7pPr>
      <a:lvl8pPr marL="268288" indent="-2682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+mj-lt"/>
        <a:buAutoNum type="alphaLcPeriod"/>
        <a:defRPr sz="2400" kern="1200">
          <a:solidFill>
            <a:srgbClr val="211F26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2000" i="1" kern="1200">
          <a:solidFill>
            <a:srgbClr val="211F26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>
          <p15:clr>
            <a:srgbClr val="A4A3A4"/>
          </p15:clr>
        </p15:guide>
        <p15:guide id="3" orient="horz" pos="3861">
          <p15:clr>
            <a:srgbClr val="A4A3A4"/>
          </p15:clr>
        </p15:guide>
        <p15:guide id="6" pos="7378">
          <p15:clr>
            <a:srgbClr val="A4A3A4"/>
          </p15:clr>
        </p15:guide>
        <p15:guide id="9" orient="horz" pos="391">
          <p15:clr>
            <a:srgbClr val="A4A3A4"/>
          </p15:clr>
        </p15:guide>
        <p15:guide id="10" orient="horz" pos="618">
          <p15:clr>
            <a:srgbClr val="A4A3A4"/>
          </p15:clr>
        </p15:guide>
        <p15:guide id="12" orient="horz" pos="4020">
          <p15:clr>
            <a:srgbClr val="A4A3A4"/>
          </p15:clr>
        </p15:guide>
        <p15:guide id="13" pos="7680">
          <p15:clr>
            <a:srgbClr val="F26B43"/>
          </p15:clr>
        </p15:guide>
        <p15:guide id="14" orient="horz" pos="4320">
          <p15:clr>
            <a:srgbClr val="F26B43"/>
          </p15:clr>
        </p15:guide>
        <p15:guide id="15" orient="horz" pos="4178">
          <p15:clr>
            <a:srgbClr val="A4A3A4"/>
          </p15:clr>
        </p15:guide>
        <p15:guide id="16">
          <p15:clr>
            <a:srgbClr val="F26B43"/>
          </p15:clr>
        </p15:guide>
        <p15:guide id="17" orient="horz">
          <p15:clr>
            <a:srgbClr val="F26B43"/>
          </p15:clr>
        </p15:guide>
        <p15:guide id="18" orient="horz" pos="3430">
          <p15:clr>
            <a:srgbClr val="A4A3A4"/>
          </p15:clr>
        </p15:guide>
        <p15:guide id="19" pos="143">
          <p15:clr>
            <a:srgbClr val="A4A3A4"/>
          </p15:clr>
        </p15:guide>
        <p15:guide id="20" pos="753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B18A589-FE33-A2B9-572B-3701A195F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51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8A589-FE33-A2B9-572B-3701A195F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Ondertitel 30">
            <a:extLst>
              <a:ext uri="{FF2B5EF4-FFF2-40B4-BE49-F238E27FC236}">
                <a16:creationId xmlns:a16="http://schemas.microsoft.com/office/drawing/2014/main" id="{CB86FA44-58F0-ACA1-5B75-9CD33BA375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001" y="3867149"/>
            <a:ext cx="4802011" cy="212725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November 2025</a:t>
            </a:r>
          </a:p>
          <a:p>
            <a:r>
              <a:rPr lang="en-GB" dirty="0"/>
              <a:t>Versie 1.0: CONCEP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615240B-4D9A-0FF5-EDDD-883A646461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nl-NL" b="1" dirty="0"/>
            </a:br>
            <a:r>
              <a:rPr lang="nl-NL" b="1" dirty="0"/>
              <a:t>IP implementatie: Bèta, Gezondheid &amp; Technologie</a:t>
            </a:r>
            <a:br>
              <a:rPr lang="nl-NL" b="1" dirty="0"/>
            </a:br>
            <a:br>
              <a:rPr lang="nl-NL" dirty="0"/>
            </a:br>
            <a:r>
              <a:rPr lang="nl-NL" dirty="0"/>
              <a:t>van rapportagecultuur naar dialoog- en resultaatcultuur</a:t>
            </a:r>
          </a:p>
        </p:txBody>
      </p:sp>
      <p:pic>
        <p:nvPicPr>
          <p:cNvPr id="25" name="Tijdelijke aanduiding voor afbeelding 20" descr="Afbeelding met buitenshuis, Landvoertuig, hemel, wiel&#10;&#10;Automatisch gegenereerde beschrijving">
            <a:extLst>
              <a:ext uri="{FF2B5EF4-FFF2-40B4-BE49-F238E27FC236}">
                <a16:creationId xmlns:a16="http://schemas.microsoft.com/office/drawing/2014/main" id="{807128B9-A3D2-0642-3010-C5DC0A38A833}"/>
              </a:ext>
            </a:extLst>
          </p:cNvPr>
          <p:cNvPicPr>
            <a:picLocks noGrp="1"/>
          </p:cNvPicPr>
          <p:nvPr>
            <p:ph type="pic" sz="quarter" idx="19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" b="116"/>
          <a:stretch/>
        </p:blipFill>
        <p:spPr>
          <a:xfrm>
            <a:off x="6098400" y="1576387"/>
            <a:ext cx="5662800" cy="4844479"/>
          </a:xfrm>
        </p:spPr>
      </p:pic>
    </p:spTree>
    <p:extLst>
      <p:ext uri="{BB962C8B-B14F-4D97-AF65-F5344CB8AC3E}">
        <p14:creationId xmlns:p14="http://schemas.microsoft.com/office/powerpoint/2010/main" val="2508989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3CD52F1-4E85-3114-114C-720E409FA2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457200" indent="-457200">
              <a:buAutoNum type="arabicPeriod"/>
            </a:pPr>
            <a:r>
              <a:rPr lang="nl-NL"/>
              <a:t>Format strategie canvas </a:t>
            </a:r>
          </a:p>
          <a:p>
            <a:pPr marL="457200" indent="-457200">
              <a:buAutoNum type="arabicPeriod"/>
            </a:pPr>
            <a:r>
              <a:rPr lang="nl-NL"/>
              <a:t>Ingevulde voorbeelden (BETA per domein</a:t>
            </a:r>
            <a:r>
              <a:rPr lang="nl-NL" dirty="0"/>
              <a:t>: Onderwijs, Onderzoek, Valorisatie &amp; Impact, Mens &amp; Organisatie</a:t>
            </a:r>
            <a:r>
              <a:rPr lang="nl-NL"/>
              <a:t>)</a:t>
            </a:r>
          </a:p>
          <a:p>
            <a:endParaRPr lang="nl-NL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7869E1F8-A18A-B559-17C5-E7EE30DA1C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lvl="0">
              <a:defRPr/>
            </a:pPr>
            <a:r>
              <a:rPr lang="nl-NL">
                <a:solidFill>
                  <a:srgbClr val="000000"/>
                </a:solidFill>
              </a:rPr>
              <a:t>Intake – Pilot IP Implementatie</a:t>
            </a:r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2ADCA5B9-F04F-02E9-0CB5-B53D523259F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40C1E0B-154D-844F-9C3C-CB8827A7EAB0}" type="slidenum">
              <a:rPr lang="nl-NL" smtClean="0"/>
              <a:pPr/>
              <a:t>2</a:t>
            </a:fld>
            <a:r>
              <a:rPr lang="nl-NL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9227A0A-7E83-4946-DE8B-96E324DA5C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Inhoud</a:t>
            </a:r>
          </a:p>
        </p:txBody>
      </p:sp>
    </p:spTree>
    <p:extLst>
      <p:ext uri="{BB962C8B-B14F-4D97-AF65-F5344CB8AC3E}">
        <p14:creationId xmlns:p14="http://schemas.microsoft.com/office/powerpoint/2010/main" val="2928627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00792-DFBB-2D9E-3FD3-C123452F3E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FCF641F0-33C0-B89F-577A-999840CB3ED8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E42124D0-C982-5FF1-6006-AC1235A99B20}"/>
              </a:ext>
            </a:extLst>
          </p:cNvPr>
          <p:cNvSpPr/>
          <p:nvPr/>
        </p:nvSpPr>
        <p:spPr>
          <a:xfrm>
            <a:off x="1329092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…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1" name="Pijl: vijfhoek 10">
            <a:extLst>
              <a:ext uri="{FF2B5EF4-FFF2-40B4-BE49-F238E27FC236}">
                <a16:creationId xmlns:a16="http://schemas.microsoft.com/office/drawing/2014/main" id="{5902DBD1-E470-9FBC-6028-A0D58F83627D}"/>
              </a:ext>
            </a:extLst>
          </p:cNvPr>
          <p:cNvSpPr/>
          <p:nvPr/>
        </p:nvSpPr>
        <p:spPr>
          <a:xfrm>
            <a:off x="149634" y="4765925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BF113D44-3249-0A74-897B-50F09561F7C1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BD7A3158-2C7A-C4FD-75F3-E691E72CC321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6CE82DA6-20BA-9E61-D442-4F530ABC665D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[…] 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98BC39C4-8F46-0FE2-8ED2-4535B9909EAD}"/>
              </a:ext>
            </a:extLst>
          </p:cNvPr>
          <p:cNvSpPr/>
          <p:nvPr/>
        </p:nvSpPr>
        <p:spPr>
          <a:xfrm>
            <a:off x="1939905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644C0E16-7126-45E7-C317-ED67F0EF2193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F6603E56-24FE-70AE-152C-5377CCD9CFCF}"/>
              </a:ext>
            </a:extLst>
          </p:cNvPr>
          <p:cNvSpPr/>
          <p:nvPr/>
        </p:nvSpPr>
        <p:spPr>
          <a:xfrm>
            <a:off x="5667207" y="94006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0FA2C4AC-46E6-92A2-FE7A-D7E54EBAC897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9CE58F7E-67D0-0F6E-665E-4A1D688D4473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4887BDF0-8C74-7DE0-22F5-66DB3C34E071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2CD1ED1F-C23F-15EE-8792-9F284B2EAB74}"/>
              </a:ext>
            </a:extLst>
          </p:cNvPr>
          <p:cNvSpPr/>
          <p:nvPr/>
        </p:nvSpPr>
        <p:spPr>
          <a:xfrm>
            <a:off x="4027396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baseline="0">
                <a:solidFill>
                  <a:srgbClr val="FFFFFF"/>
                </a:solidFill>
                <a:latin typeface="Aptos"/>
              </a:rPr>
              <a:t>…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66E08A01-B48A-EE54-10A6-66EFC4BA2F32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3679DAB0-7A04-549E-BAC6-27EF99309B32}"/>
              </a:ext>
            </a:extLst>
          </p:cNvPr>
          <p:cNvSpPr/>
          <p:nvPr/>
        </p:nvSpPr>
        <p:spPr>
          <a:xfrm>
            <a:off x="6702525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…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5F84CAC5-78C3-315D-03FF-9EA64AC3FCE2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E6585DBA-8B66-B2B3-483E-0C28BE155533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99D8C24A-33D8-9369-D539-68430530AA4C}"/>
              </a:ext>
            </a:extLst>
          </p:cNvPr>
          <p:cNvGrpSpPr/>
          <p:nvPr/>
        </p:nvGrpSpPr>
        <p:grpSpPr>
          <a:xfrm>
            <a:off x="1341332" y="4713344"/>
            <a:ext cx="2416182" cy="890920"/>
            <a:chOff x="1329092" y="1590911"/>
            <a:chExt cx="2416182" cy="890920"/>
          </a:xfrm>
        </p:grpSpPr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5B8AA75D-F306-7B91-C207-60C26198FF4F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" name="Rechthoek: afgeronde hoeken 8">
                <a:extLst>
                  <a:ext uri="{FF2B5EF4-FFF2-40B4-BE49-F238E27FC236}">
                    <a16:creationId xmlns:a16="http://schemas.microsoft.com/office/drawing/2014/main" id="{4821047F-BD91-A573-027A-D634236F848D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hthoek: afgeronde hoeken 27">
                <a:extLst>
                  <a:ext uri="{FF2B5EF4-FFF2-40B4-BE49-F238E27FC236}">
                    <a16:creationId xmlns:a16="http://schemas.microsoft.com/office/drawing/2014/main" id="{0E7401DF-DE41-C2E4-529C-AC68532EC8DC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67" name="Tekstvak 66">
              <a:extLst>
                <a:ext uri="{FF2B5EF4-FFF2-40B4-BE49-F238E27FC236}">
                  <a16:creationId xmlns:a16="http://schemas.microsoft.com/office/drawing/2014/main" id="{AA4FB7C7-6462-6D61-BD70-CF6F18D037D3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id="{6B473872-D6E6-8053-074C-8FAF88E263AD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68" name="Rechthoek: afgeronde hoeken 67">
                <a:extLst>
                  <a:ext uri="{FF2B5EF4-FFF2-40B4-BE49-F238E27FC236}">
                    <a16:creationId xmlns:a16="http://schemas.microsoft.com/office/drawing/2014/main" id="{D64C89E9-BDED-17E3-7F33-B1B8CF784B52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hthoek: afgeronde hoeken 27">
                <a:extLst>
                  <a:ext uri="{FF2B5EF4-FFF2-40B4-BE49-F238E27FC236}">
                    <a16:creationId xmlns:a16="http://schemas.microsoft.com/office/drawing/2014/main" id="{4FC3C5AA-C6EF-7422-A81D-67BC7F6CDF0D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75" name="Groep 74">
              <a:extLst>
                <a:ext uri="{FF2B5EF4-FFF2-40B4-BE49-F238E27FC236}">
                  <a16:creationId xmlns:a16="http://schemas.microsoft.com/office/drawing/2014/main" id="{B8632648-F351-F68E-C057-16BBBD1BB088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76" name="Rechthoek: afgeronde hoeken 75">
                <a:extLst>
                  <a:ext uri="{FF2B5EF4-FFF2-40B4-BE49-F238E27FC236}">
                    <a16:creationId xmlns:a16="http://schemas.microsoft.com/office/drawing/2014/main" id="{7E0DB4C8-13A6-8989-FC6A-24BC3CAFC4C5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27">
                <a:extLst>
                  <a:ext uri="{FF2B5EF4-FFF2-40B4-BE49-F238E27FC236}">
                    <a16:creationId xmlns:a16="http://schemas.microsoft.com/office/drawing/2014/main" id="{153386DF-F8C9-1991-9543-FA7EA10D0FDE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DAB3A7E7-4987-D0CE-00DF-A2372FE132EB}"/>
              </a:ext>
            </a:extLst>
          </p:cNvPr>
          <p:cNvGrpSpPr/>
          <p:nvPr/>
        </p:nvGrpSpPr>
        <p:grpSpPr>
          <a:xfrm>
            <a:off x="4064170" y="4713344"/>
            <a:ext cx="2416182" cy="890920"/>
            <a:chOff x="1329092" y="1590911"/>
            <a:chExt cx="2416182" cy="890920"/>
          </a:xfrm>
        </p:grpSpPr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5509999A-9A0B-63F8-8EFF-FCE4F0C3AFC1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88" name="Rechthoek: afgeronde hoeken 87">
                <a:extLst>
                  <a:ext uri="{FF2B5EF4-FFF2-40B4-BE49-F238E27FC236}">
                    <a16:creationId xmlns:a16="http://schemas.microsoft.com/office/drawing/2014/main" id="{7E72C0B8-D67D-01AE-B120-C858E3C76D08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hoek: afgeronde hoeken 27">
                <a:extLst>
                  <a:ext uri="{FF2B5EF4-FFF2-40B4-BE49-F238E27FC236}">
                    <a16:creationId xmlns:a16="http://schemas.microsoft.com/office/drawing/2014/main" id="{293EE409-CE69-B941-4EDD-66B89645654D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51F95B7D-207D-192D-BFFB-AD57BB32F039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82" name="Groep 81">
              <a:extLst>
                <a:ext uri="{FF2B5EF4-FFF2-40B4-BE49-F238E27FC236}">
                  <a16:creationId xmlns:a16="http://schemas.microsoft.com/office/drawing/2014/main" id="{F4835BF9-DE26-DD48-63FD-B4453AEC088B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86" name="Rechthoek: afgeronde hoeken 85">
                <a:extLst>
                  <a:ext uri="{FF2B5EF4-FFF2-40B4-BE49-F238E27FC236}">
                    <a16:creationId xmlns:a16="http://schemas.microsoft.com/office/drawing/2014/main" id="{7836A0F1-BDEF-DDD7-5048-1D11B7C6634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hoek: afgeronde hoeken 27">
                <a:extLst>
                  <a:ext uri="{FF2B5EF4-FFF2-40B4-BE49-F238E27FC236}">
                    <a16:creationId xmlns:a16="http://schemas.microsoft.com/office/drawing/2014/main" id="{2A9C19FC-D87F-57E9-D50B-10CE7237775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83" name="Groep 82">
              <a:extLst>
                <a:ext uri="{FF2B5EF4-FFF2-40B4-BE49-F238E27FC236}">
                  <a16:creationId xmlns:a16="http://schemas.microsoft.com/office/drawing/2014/main" id="{49F28E3E-0F9D-C9F8-B4EB-855BD12DC3C7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84" name="Rechthoek: afgeronde hoeken 83">
                <a:extLst>
                  <a:ext uri="{FF2B5EF4-FFF2-40B4-BE49-F238E27FC236}">
                    <a16:creationId xmlns:a16="http://schemas.microsoft.com/office/drawing/2014/main" id="{B35DB5F0-B4F0-8715-7063-FD78D3934B45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hoek: afgeronde hoeken 27">
                <a:extLst>
                  <a:ext uri="{FF2B5EF4-FFF2-40B4-BE49-F238E27FC236}">
                    <a16:creationId xmlns:a16="http://schemas.microsoft.com/office/drawing/2014/main" id="{5F8E9639-6B50-97A0-F544-EE60C1806696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90" name="Groep 89">
            <a:extLst>
              <a:ext uri="{FF2B5EF4-FFF2-40B4-BE49-F238E27FC236}">
                <a16:creationId xmlns:a16="http://schemas.microsoft.com/office/drawing/2014/main" id="{79F3332B-A854-7E56-9A1C-22EE75EFA51C}"/>
              </a:ext>
            </a:extLst>
          </p:cNvPr>
          <p:cNvGrpSpPr/>
          <p:nvPr/>
        </p:nvGrpSpPr>
        <p:grpSpPr>
          <a:xfrm>
            <a:off x="6716871" y="4713344"/>
            <a:ext cx="2416182" cy="890920"/>
            <a:chOff x="1329092" y="1590911"/>
            <a:chExt cx="2416182" cy="890920"/>
          </a:xfrm>
        </p:grpSpPr>
        <p:grpSp>
          <p:nvGrpSpPr>
            <p:cNvPr id="91" name="Groep 90">
              <a:extLst>
                <a:ext uri="{FF2B5EF4-FFF2-40B4-BE49-F238E27FC236}">
                  <a16:creationId xmlns:a16="http://schemas.microsoft.com/office/drawing/2014/main" id="{5DB494C3-0CED-4B27-EF19-A506A7051EB5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9" name="Rechthoek: afgeronde hoeken 98">
                <a:extLst>
                  <a:ext uri="{FF2B5EF4-FFF2-40B4-BE49-F238E27FC236}">
                    <a16:creationId xmlns:a16="http://schemas.microsoft.com/office/drawing/2014/main" id="{DC5D4A16-0F82-1D3C-B5AA-22CBD143DD2D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hthoek: afgeronde hoeken 27">
                <a:extLst>
                  <a:ext uri="{FF2B5EF4-FFF2-40B4-BE49-F238E27FC236}">
                    <a16:creationId xmlns:a16="http://schemas.microsoft.com/office/drawing/2014/main" id="{FC90F0E9-3977-06DC-5693-89F95AE13DEA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92" name="Tekstvak 91">
              <a:extLst>
                <a:ext uri="{FF2B5EF4-FFF2-40B4-BE49-F238E27FC236}">
                  <a16:creationId xmlns:a16="http://schemas.microsoft.com/office/drawing/2014/main" id="{87515F27-3433-4E5B-C5E4-5895384A55A5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34A1B94C-6681-A770-605B-A0F97D343963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97" name="Rechthoek: afgeronde hoeken 96">
                <a:extLst>
                  <a:ext uri="{FF2B5EF4-FFF2-40B4-BE49-F238E27FC236}">
                    <a16:creationId xmlns:a16="http://schemas.microsoft.com/office/drawing/2014/main" id="{0889B387-5E14-21C6-8F9B-51754E597754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hthoek: afgeronde hoeken 27">
                <a:extLst>
                  <a:ext uri="{FF2B5EF4-FFF2-40B4-BE49-F238E27FC236}">
                    <a16:creationId xmlns:a16="http://schemas.microsoft.com/office/drawing/2014/main" id="{138A32EE-235E-4B8B-9E4B-7FD30C2EBD82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68C23BB1-9873-0008-AC99-A80BDBFE62C7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95" name="Rechthoek: afgeronde hoeken 94">
                <a:extLst>
                  <a:ext uri="{FF2B5EF4-FFF2-40B4-BE49-F238E27FC236}">
                    <a16:creationId xmlns:a16="http://schemas.microsoft.com/office/drawing/2014/main" id="{F91386A6-EB7B-0388-CE6E-B53F9F9988CA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hthoek: afgeronde hoeken 27">
                <a:extLst>
                  <a:ext uri="{FF2B5EF4-FFF2-40B4-BE49-F238E27FC236}">
                    <a16:creationId xmlns:a16="http://schemas.microsoft.com/office/drawing/2014/main" id="{23EC8075-89E3-A75A-C976-7FBB96AE5DD1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id="{A2352CB0-1E74-324F-40FE-FC95B0510BBA}"/>
              </a:ext>
            </a:extLst>
          </p:cNvPr>
          <p:cNvGrpSpPr/>
          <p:nvPr/>
        </p:nvGrpSpPr>
        <p:grpSpPr>
          <a:xfrm>
            <a:off x="9394360" y="4713344"/>
            <a:ext cx="2416182" cy="890920"/>
            <a:chOff x="1329092" y="1590911"/>
            <a:chExt cx="2416182" cy="890920"/>
          </a:xfrm>
        </p:grpSpPr>
        <p:grpSp>
          <p:nvGrpSpPr>
            <p:cNvPr id="103" name="Groep 102">
              <a:extLst>
                <a:ext uri="{FF2B5EF4-FFF2-40B4-BE49-F238E27FC236}">
                  <a16:creationId xmlns:a16="http://schemas.microsoft.com/office/drawing/2014/main" id="{5630B7BF-DABF-FCC6-0B2C-46DAB40B16FD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24" name="Rechthoek: afgeronde hoeken 123">
                <a:extLst>
                  <a:ext uri="{FF2B5EF4-FFF2-40B4-BE49-F238E27FC236}">
                    <a16:creationId xmlns:a16="http://schemas.microsoft.com/office/drawing/2014/main" id="{C061777D-056A-AA85-D56E-F366AEF2C2CF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hthoek: afgeronde hoeken 27">
                <a:extLst>
                  <a:ext uri="{FF2B5EF4-FFF2-40B4-BE49-F238E27FC236}">
                    <a16:creationId xmlns:a16="http://schemas.microsoft.com/office/drawing/2014/main" id="{AEF288E6-F9DC-B177-4B3A-ECDB10709441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112" name="Tekstvak 111">
              <a:extLst>
                <a:ext uri="{FF2B5EF4-FFF2-40B4-BE49-F238E27FC236}">
                  <a16:creationId xmlns:a16="http://schemas.microsoft.com/office/drawing/2014/main" id="{3F68E599-357E-C698-764A-122687B37D19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04218A36-F593-33D0-F2C8-A90093D8A52E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122" name="Rechthoek: afgeronde hoeken 121">
                <a:extLst>
                  <a:ext uri="{FF2B5EF4-FFF2-40B4-BE49-F238E27FC236}">
                    <a16:creationId xmlns:a16="http://schemas.microsoft.com/office/drawing/2014/main" id="{4B6E1535-A864-DAC0-8FF1-C660D9591379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hthoek: afgeronde hoeken 27">
                <a:extLst>
                  <a:ext uri="{FF2B5EF4-FFF2-40B4-BE49-F238E27FC236}">
                    <a16:creationId xmlns:a16="http://schemas.microsoft.com/office/drawing/2014/main" id="{26194AE5-EE07-767E-ABC6-3C7009A177D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66B3F63D-A57A-EA85-0711-B2FE7D9EFBD1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116" name="Rechthoek: afgeronde hoeken 115">
                <a:extLst>
                  <a:ext uri="{FF2B5EF4-FFF2-40B4-BE49-F238E27FC236}">
                    <a16:creationId xmlns:a16="http://schemas.microsoft.com/office/drawing/2014/main" id="{6A712AE7-5D4B-C92E-A1E8-427ACA29B022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27">
                <a:extLst>
                  <a:ext uri="{FF2B5EF4-FFF2-40B4-BE49-F238E27FC236}">
                    <a16:creationId xmlns:a16="http://schemas.microsoft.com/office/drawing/2014/main" id="{5B8B0DF9-84A4-DBAC-99E7-8004E5A590D4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CA1A9358-425F-DC06-AAF9-BA1C696A30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8E632799-533C-9C6B-8529-16CB35D163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1D3BD7D8-FC4A-E91D-0B8C-CD771154B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1BADE576-D6C3-C49D-2B89-0A53A045B6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grpSp>
        <p:nvGrpSpPr>
          <p:cNvPr id="153" name="Groep 152">
            <a:extLst>
              <a:ext uri="{FF2B5EF4-FFF2-40B4-BE49-F238E27FC236}">
                <a16:creationId xmlns:a16="http://schemas.microsoft.com/office/drawing/2014/main" id="{27A83037-ADCB-C9F0-BBAA-5473375239C5}"/>
              </a:ext>
            </a:extLst>
          </p:cNvPr>
          <p:cNvGrpSpPr/>
          <p:nvPr/>
        </p:nvGrpSpPr>
        <p:grpSpPr>
          <a:xfrm>
            <a:off x="1359506" y="3141147"/>
            <a:ext cx="2368072" cy="1042039"/>
            <a:chOff x="1358223" y="3001022"/>
            <a:chExt cx="2368072" cy="1042039"/>
          </a:xfrm>
        </p:grpSpPr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9B5083DD-B7BA-0E37-2FBD-5384E4705D08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F14DC7C7-46F2-6BF8-ACB5-2E20576A9B9D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CEAF8546-6AB0-CB5D-4664-EDFAFCF73E8A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8" name="Rechthoek: afgeronde hoeken 27">
                  <a:extLst>
                    <a:ext uri="{FF2B5EF4-FFF2-40B4-BE49-F238E27FC236}">
                      <a16:creationId xmlns:a16="http://schemas.microsoft.com/office/drawing/2014/main" id="{05047CBB-18D8-DE1D-98EA-0FBC6BA112EE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al 21">
                  <a:extLst>
                    <a:ext uri="{FF2B5EF4-FFF2-40B4-BE49-F238E27FC236}">
                      <a16:creationId xmlns:a16="http://schemas.microsoft.com/office/drawing/2014/main" id="{3E5A3B68-33D9-0400-BC80-F8B68960F9EF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al 22">
                  <a:extLst>
                    <a:ext uri="{FF2B5EF4-FFF2-40B4-BE49-F238E27FC236}">
                      <a16:creationId xmlns:a16="http://schemas.microsoft.com/office/drawing/2014/main" id="{1FB79FBB-6D1A-6774-5DF7-EF8A34737DEA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23">
                  <a:extLst>
                    <a:ext uri="{FF2B5EF4-FFF2-40B4-BE49-F238E27FC236}">
                      <a16:creationId xmlns:a16="http://schemas.microsoft.com/office/drawing/2014/main" id="{C2D23FA8-7CA9-55FF-4C7A-A76AF5671F3A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6" name="Rechthoek: afgeronde hoeken 135">
              <a:extLst>
                <a:ext uri="{FF2B5EF4-FFF2-40B4-BE49-F238E27FC236}">
                  <a16:creationId xmlns:a16="http://schemas.microsoft.com/office/drawing/2014/main" id="{1FBB49E2-EC6A-656B-52EC-D73DE6F5CA78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0D1EF447-AF6D-CCB9-146F-7CCDE4EA8E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pic>
        <p:nvPicPr>
          <p:cNvPr id="138" name="Graphic 137" descr="Studentenbaret bij afstuderen met effen opvulling">
            <a:extLst>
              <a:ext uri="{FF2B5EF4-FFF2-40B4-BE49-F238E27FC236}">
                <a16:creationId xmlns:a16="http://schemas.microsoft.com/office/drawing/2014/main" id="{D7D038AB-8137-A8C3-303B-EA6F1DEFF3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7396" y="891961"/>
            <a:ext cx="144000" cy="144000"/>
          </a:xfrm>
          <a:prstGeom prst="rect">
            <a:avLst/>
          </a:prstGeom>
        </p:spPr>
      </p:pic>
      <p:pic>
        <p:nvPicPr>
          <p:cNvPr id="139" name="Graphic 138" descr="Studentenbaret bij afstuderen met effen opvulling">
            <a:extLst>
              <a:ext uri="{FF2B5EF4-FFF2-40B4-BE49-F238E27FC236}">
                <a16:creationId xmlns:a16="http://schemas.microsoft.com/office/drawing/2014/main" id="{A7914BE2-5AA1-F198-3B19-CDEA700AEC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6569" y="907632"/>
            <a:ext cx="144000" cy="144000"/>
          </a:xfrm>
          <a:prstGeom prst="rect">
            <a:avLst/>
          </a:prstGeom>
        </p:spPr>
      </p:pic>
      <p:pic>
        <p:nvPicPr>
          <p:cNvPr id="140" name="Graphic 139" descr="Aspiratie met effen opvulling">
            <a:extLst>
              <a:ext uri="{FF2B5EF4-FFF2-40B4-BE49-F238E27FC236}">
                <a16:creationId xmlns:a16="http://schemas.microsoft.com/office/drawing/2014/main" id="{E0AE3FCE-E9B1-41AE-BE4F-34700CCF7F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569" y="907632"/>
            <a:ext cx="144000" cy="144000"/>
          </a:xfrm>
          <a:prstGeom prst="rect">
            <a:avLst/>
          </a:prstGeom>
        </p:spPr>
      </p:pic>
      <p:grpSp>
        <p:nvGrpSpPr>
          <p:cNvPr id="167" name="Groep 166">
            <a:extLst>
              <a:ext uri="{FF2B5EF4-FFF2-40B4-BE49-F238E27FC236}">
                <a16:creationId xmlns:a16="http://schemas.microsoft.com/office/drawing/2014/main" id="{657F28B9-271A-2F1A-D078-1CFEF8C11B14}"/>
              </a:ext>
            </a:extLst>
          </p:cNvPr>
          <p:cNvGrpSpPr/>
          <p:nvPr/>
        </p:nvGrpSpPr>
        <p:grpSpPr>
          <a:xfrm>
            <a:off x="4035825" y="1944238"/>
            <a:ext cx="2368072" cy="1042039"/>
            <a:chOff x="1358223" y="3001022"/>
            <a:chExt cx="2368072" cy="1042039"/>
          </a:xfrm>
        </p:grpSpPr>
        <p:grpSp>
          <p:nvGrpSpPr>
            <p:cNvPr id="168" name="Groep 167">
              <a:extLst>
                <a:ext uri="{FF2B5EF4-FFF2-40B4-BE49-F238E27FC236}">
                  <a16:creationId xmlns:a16="http://schemas.microsoft.com/office/drawing/2014/main" id="{3E47192D-6B40-EC5A-BEB4-4F43A872691B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0" name="Rechthoek: afgeronde hoeken 169">
                <a:extLst>
                  <a:ext uri="{FF2B5EF4-FFF2-40B4-BE49-F238E27FC236}">
                    <a16:creationId xmlns:a16="http://schemas.microsoft.com/office/drawing/2014/main" id="{D515DFDF-0EEB-8EA6-5D80-172BF2065151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107FFFD9-0C8C-19AD-8092-7F1D618FFA3D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72" name="Rechthoek: afgeronde hoeken 171">
                  <a:extLst>
                    <a:ext uri="{FF2B5EF4-FFF2-40B4-BE49-F238E27FC236}">
                      <a16:creationId xmlns:a16="http://schemas.microsoft.com/office/drawing/2014/main" id="{141B6C3B-0A39-4DFE-00D8-4D8FEBC48FC1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Ovaal 172">
                  <a:extLst>
                    <a:ext uri="{FF2B5EF4-FFF2-40B4-BE49-F238E27FC236}">
                      <a16:creationId xmlns:a16="http://schemas.microsoft.com/office/drawing/2014/main" id="{67E5BFE4-2457-844B-2B06-E01B218F9AD4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al 173">
                  <a:extLst>
                    <a:ext uri="{FF2B5EF4-FFF2-40B4-BE49-F238E27FC236}">
                      <a16:creationId xmlns:a16="http://schemas.microsoft.com/office/drawing/2014/main" id="{FA92FF65-8234-EBB6-BBAC-D15828FC8334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Ovaal 174">
                  <a:extLst>
                    <a:ext uri="{FF2B5EF4-FFF2-40B4-BE49-F238E27FC236}">
                      <a16:creationId xmlns:a16="http://schemas.microsoft.com/office/drawing/2014/main" id="{47CEC69E-F3D8-BCDA-7CDD-52C4113FC892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9" name="Rechthoek: afgeronde hoeken 168">
              <a:extLst>
                <a:ext uri="{FF2B5EF4-FFF2-40B4-BE49-F238E27FC236}">
                  <a16:creationId xmlns:a16="http://schemas.microsoft.com/office/drawing/2014/main" id="{CB402E8A-36AC-5A67-5E4A-31C39743281A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76" name="Groep 175">
            <a:extLst>
              <a:ext uri="{FF2B5EF4-FFF2-40B4-BE49-F238E27FC236}">
                <a16:creationId xmlns:a16="http://schemas.microsoft.com/office/drawing/2014/main" id="{387B0BEB-8C5A-ABDD-D864-A4E5B18DDA65}"/>
              </a:ext>
            </a:extLst>
          </p:cNvPr>
          <p:cNvGrpSpPr/>
          <p:nvPr/>
        </p:nvGrpSpPr>
        <p:grpSpPr>
          <a:xfrm>
            <a:off x="4033355" y="3121097"/>
            <a:ext cx="2368072" cy="1042039"/>
            <a:chOff x="1358223" y="3001022"/>
            <a:chExt cx="2368072" cy="1042039"/>
          </a:xfrm>
        </p:grpSpPr>
        <p:grpSp>
          <p:nvGrpSpPr>
            <p:cNvPr id="177" name="Groep 176">
              <a:extLst>
                <a:ext uri="{FF2B5EF4-FFF2-40B4-BE49-F238E27FC236}">
                  <a16:creationId xmlns:a16="http://schemas.microsoft.com/office/drawing/2014/main" id="{4B492DD8-D44B-F2C5-3234-685C39C7522B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9" name="Rechthoek: afgeronde hoeken 178">
                <a:extLst>
                  <a:ext uri="{FF2B5EF4-FFF2-40B4-BE49-F238E27FC236}">
                    <a16:creationId xmlns:a16="http://schemas.microsoft.com/office/drawing/2014/main" id="{EF1D9CC9-F728-31D3-E758-CF9CADB0358C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80" name="Groep 179">
                <a:extLst>
                  <a:ext uri="{FF2B5EF4-FFF2-40B4-BE49-F238E27FC236}">
                    <a16:creationId xmlns:a16="http://schemas.microsoft.com/office/drawing/2014/main" id="{9D159B27-3BA5-C034-CE1B-4758E0FF146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81" name="Rechthoek: afgeronde hoeken 180">
                  <a:extLst>
                    <a:ext uri="{FF2B5EF4-FFF2-40B4-BE49-F238E27FC236}">
                      <a16:creationId xmlns:a16="http://schemas.microsoft.com/office/drawing/2014/main" id="{9BC2F925-8119-2012-4873-9D2813E3DBD3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Ovaal 181">
                  <a:extLst>
                    <a:ext uri="{FF2B5EF4-FFF2-40B4-BE49-F238E27FC236}">
                      <a16:creationId xmlns:a16="http://schemas.microsoft.com/office/drawing/2014/main" id="{EF7BF4E5-F0D6-0DA9-391C-5F8F1DACAEDE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Ovaal 182">
                  <a:extLst>
                    <a:ext uri="{FF2B5EF4-FFF2-40B4-BE49-F238E27FC236}">
                      <a16:creationId xmlns:a16="http://schemas.microsoft.com/office/drawing/2014/main" id="{1FC1805E-7D3C-A673-6C7E-78989C25077D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al 183">
                  <a:extLst>
                    <a:ext uri="{FF2B5EF4-FFF2-40B4-BE49-F238E27FC236}">
                      <a16:creationId xmlns:a16="http://schemas.microsoft.com/office/drawing/2014/main" id="{81C04D0F-B404-5C49-CE7F-57EBFF696736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Rechthoek: afgeronde hoeken 177">
              <a:extLst>
                <a:ext uri="{FF2B5EF4-FFF2-40B4-BE49-F238E27FC236}">
                  <a16:creationId xmlns:a16="http://schemas.microsoft.com/office/drawing/2014/main" id="{B2EB2D0D-3C02-4A8C-D636-38638DB2F9CA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85" name="Groep 184">
            <a:extLst>
              <a:ext uri="{FF2B5EF4-FFF2-40B4-BE49-F238E27FC236}">
                <a16:creationId xmlns:a16="http://schemas.microsoft.com/office/drawing/2014/main" id="{43621375-5233-A18C-BDC7-E7A1F5A06D76}"/>
              </a:ext>
            </a:extLst>
          </p:cNvPr>
          <p:cNvGrpSpPr/>
          <p:nvPr/>
        </p:nvGrpSpPr>
        <p:grpSpPr>
          <a:xfrm>
            <a:off x="6687503" y="1944238"/>
            <a:ext cx="2368072" cy="1042039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5DF809AC-375D-B844-AA87-5E9BE56FCC72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F560B79C-9055-5F20-897C-43BF0F37156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F878F433-AE46-760F-A431-55C6369E5C0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93D68C68-26B9-BC6B-DAC1-262D3AEBC5A6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00B75F69-FEE9-DECA-C66D-8D6B61F56F26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19EFA85D-B869-FE5D-F699-A9F0CF925EA5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84699546-B4C8-19A7-53FD-2FFB204BD71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52501703-EE7F-BE6B-6900-A787528167CA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C24A41FB-92E2-2770-9E70-002805BDA741}"/>
              </a:ext>
            </a:extLst>
          </p:cNvPr>
          <p:cNvGrpSpPr/>
          <p:nvPr/>
        </p:nvGrpSpPr>
        <p:grpSpPr>
          <a:xfrm>
            <a:off x="6685033" y="3121097"/>
            <a:ext cx="2368072" cy="1042039"/>
            <a:chOff x="1358223" y="3001022"/>
            <a:chExt cx="2368072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48890374-D33D-7B25-8132-66070CF40641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9CB269B7-AF31-0B84-F252-7B56C2821B62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0DD0F464-C524-2C5F-3635-0BFAE6D7A1F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0A399430-D75E-1EFA-EF32-F79A75D2A9D0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32F74356-4EC3-7CB9-0D85-C70DE6C3639B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A5B3C348-951D-0542-1619-C16361E3AB46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B5539514-72FC-1374-D710-799372160CB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6DF93C28-59E6-2831-527B-9A93D476B035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ABFCEE56-94B4-4F7E-601D-54F67557CA79}"/>
              </a:ext>
            </a:extLst>
          </p:cNvPr>
          <p:cNvGrpSpPr/>
          <p:nvPr/>
        </p:nvGrpSpPr>
        <p:grpSpPr>
          <a:xfrm>
            <a:off x="9359150" y="1944595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AB3D89E9-68F4-AA0C-D0DD-DD2BAFC3B3BF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CC679725-442B-2E60-0C2D-B719939940FB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82BFAA7E-5C57-E1A4-26E8-06CDD88195E5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D379F55B-2D72-DDFE-C414-44E1B215B7B9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79D9AE56-58B7-B6D0-07ED-51D44C10024A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D181D588-4D8F-0D03-7A0C-FB321A275C51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9470AF43-C9F5-B013-5886-F14C43F901A5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530EE5D5-2944-0BCA-F906-E44AAF07F96B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sp>
        <p:nvSpPr>
          <p:cNvPr id="2" name="Pijl: vijfhoek 110">
            <a:extLst>
              <a:ext uri="{FF2B5EF4-FFF2-40B4-BE49-F238E27FC236}">
                <a16:creationId xmlns:a16="http://schemas.microsoft.com/office/drawing/2014/main" id="{A2D6BD4C-DFBB-72D9-AD70-0C9725F411CA}"/>
              </a:ext>
            </a:extLst>
          </p:cNvPr>
          <p:cNvSpPr/>
          <p:nvPr/>
        </p:nvSpPr>
        <p:spPr>
          <a:xfrm>
            <a:off x="137394" y="1944238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grpSp>
        <p:nvGrpSpPr>
          <p:cNvPr id="3" name="Groep 152">
            <a:extLst>
              <a:ext uri="{FF2B5EF4-FFF2-40B4-BE49-F238E27FC236}">
                <a16:creationId xmlns:a16="http://schemas.microsoft.com/office/drawing/2014/main" id="{E402A640-1D4E-40B8-6918-4DC6A84C5032}"/>
              </a:ext>
            </a:extLst>
          </p:cNvPr>
          <p:cNvGrpSpPr/>
          <p:nvPr/>
        </p:nvGrpSpPr>
        <p:grpSpPr>
          <a:xfrm>
            <a:off x="1358223" y="1944238"/>
            <a:ext cx="2368072" cy="1042039"/>
            <a:chOff x="1358223" y="3001022"/>
            <a:chExt cx="2368072" cy="1042039"/>
          </a:xfrm>
        </p:grpSpPr>
        <p:grpSp>
          <p:nvGrpSpPr>
            <p:cNvPr id="4" name="Groep 34">
              <a:extLst>
                <a:ext uri="{FF2B5EF4-FFF2-40B4-BE49-F238E27FC236}">
                  <a16:creationId xmlns:a16="http://schemas.microsoft.com/office/drawing/2014/main" id="{EFAC470C-BB82-FC00-D034-ADF1092422A4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6" name="Rechthoek: afgeronde hoeken 9">
                <a:extLst>
                  <a:ext uri="{FF2B5EF4-FFF2-40B4-BE49-F238E27FC236}">
                    <a16:creationId xmlns:a16="http://schemas.microsoft.com/office/drawing/2014/main" id="{CEAE0FC4-6D78-D8DC-9B0F-A2DEFDFB5C2D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7" name="Groep 28">
                <a:extLst>
                  <a:ext uri="{FF2B5EF4-FFF2-40B4-BE49-F238E27FC236}">
                    <a16:creationId xmlns:a16="http://schemas.microsoft.com/office/drawing/2014/main" id="{407C51F3-B28B-18BF-0E89-F6910E9804E6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2" name="Rechthoek: afgeronde hoeken 27">
                  <a:extLst>
                    <a:ext uri="{FF2B5EF4-FFF2-40B4-BE49-F238E27FC236}">
                      <a16:creationId xmlns:a16="http://schemas.microsoft.com/office/drawing/2014/main" id="{3A8A4479-97E7-D593-C81D-7F64EBD94DB9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Ovaal 21">
                  <a:extLst>
                    <a:ext uri="{FF2B5EF4-FFF2-40B4-BE49-F238E27FC236}">
                      <a16:creationId xmlns:a16="http://schemas.microsoft.com/office/drawing/2014/main" id="{D932B401-C275-5543-8D48-C65D2E0C0AB7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Ovaal 22">
                  <a:extLst>
                    <a:ext uri="{FF2B5EF4-FFF2-40B4-BE49-F238E27FC236}">
                      <a16:creationId xmlns:a16="http://schemas.microsoft.com/office/drawing/2014/main" id="{438796AB-0779-242D-24D6-BDE9B1281037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al 23">
                  <a:extLst>
                    <a:ext uri="{FF2B5EF4-FFF2-40B4-BE49-F238E27FC236}">
                      <a16:creationId xmlns:a16="http://schemas.microsoft.com/office/drawing/2014/main" id="{6FA55034-D488-AF6E-4B07-7E4FA26F2919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" name="Rechthoek: afgeronde hoeken 135">
              <a:extLst>
                <a:ext uri="{FF2B5EF4-FFF2-40B4-BE49-F238E27FC236}">
                  <a16:creationId xmlns:a16="http://schemas.microsoft.com/office/drawing/2014/main" id="{0458D2D1-4577-5BDB-8637-E337409AB828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6631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D48667-190E-3338-5935-954A19669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C3696FA9-87AE-01C4-AF81-F0B23D3F1F53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B95DE5FC-FE90-D6FF-6602-5A54B9B31BFC}"/>
              </a:ext>
            </a:extLst>
          </p:cNvPr>
          <p:cNvSpPr/>
          <p:nvPr/>
        </p:nvSpPr>
        <p:spPr>
          <a:xfrm>
            <a:off x="1329092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Opleidingsportfolio afstemmen op samenleving en wetenschap​​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3DDC0E49-17ED-C3DC-13C8-E7B822A42AA6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4506C957-6162-A357-E3B7-8E8295C629DE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7E59905A-1904-169E-4515-D13ECD6FCD5A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BETA 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5DC720BB-FE7D-4375-AEC1-898A6C172861}"/>
              </a:ext>
            </a:extLst>
          </p:cNvPr>
          <p:cNvSpPr/>
          <p:nvPr/>
        </p:nvSpPr>
        <p:spPr>
          <a:xfrm>
            <a:off x="1939905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Onderwijs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34D51FEB-9C4B-8B0D-E6CA-454652A9E0FE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 err="1">
                <a:solidFill>
                  <a:schemeClr val="tx1"/>
                </a:solidFill>
              </a:rPr>
              <a:t>Pfh</a:t>
            </a:r>
            <a:r>
              <a:rPr lang="nl-NL" sz="1400" b="1">
                <a:solidFill>
                  <a:schemeClr val="tx1"/>
                </a:solidFill>
              </a:rPr>
              <a:t> Onderwijs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6D1A4AEE-3517-7E07-15B3-DA00B61167D6}"/>
              </a:ext>
            </a:extLst>
          </p:cNvPr>
          <p:cNvSpPr/>
          <p:nvPr/>
        </p:nvSpPr>
        <p:spPr>
          <a:xfrm>
            <a:off x="5667207" y="94006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2027-2030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7744AD35-BA39-64D2-4CC7-84E0F19913B2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11" name="Pijl: vijfhoek 110">
            <a:extLst>
              <a:ext uri="{FF2B5EF4-FFF2-40B4-BE49-F238E27FC236}">
                <a16:creationId xmlns:a16="http://schemas.microsoft.com/office/drawing/2014/main" id="{456A40A6-761B-25FE-F72E-F0628DF9D53B}"/>
              </a:ext>
            </a:extLst>
          </p:cNvPr>
          <p:cNvSpPr/>
          <p:nvPr/>
        </p:nvSpPr>
        <p:spPr>
          <a:xfrm>
            <a:off x="137394" y="2053608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9CC55F05-1E8A-A3FD-D8B9-302B2AABA0DE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2A8A19BD-F2B2-2A3B-639D-650C498BE2B8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B716D71E-E6F8-C74A-F791-279CC2059A24}"/>
              </a:ext>
            </a:extLst>
          </p:cNvPr>
          <p:cNvSpPr/>
          <p:nvPr/>
        </p:nvSpPr>
        <p:spPr>
          <a:xfrm>
            <a:off x="4027396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baseline="0">
                <a:solidFill>
                  <a:srgbClr val="FFFFFF"/>
                </a:solidFill>
                <a:latin typeface="Aptos"/>
              </a:rPr>
              <a:t>​​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Voorbereiding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 op 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snel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veranderende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wereld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 door 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innovatief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/>
              </a:rPr>
              <a:t>onderwijs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D720E5B4-24FD-D422-560D-2DD0FCD39B46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FE7121FA-8FB9-AE05-3444-633CD94535B8}"/>
              </a:ext>
            </a:extLst>
          </p:cNvPr>
          <p:cNvSpPr/>
          <p:nvPr/>
        </p:nvSpPr>
        <p:spPr>
          <a:xfrm>
            <a:off x="6703537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Met onderscheidend aanbod </a:t>
            </a:r>
            <a:r>
              <a:rPr lang="nl-NL" sz="1200" b="1" baseline="0" err="1">
                <a:solidFill>
                  <a:srgbClr val="FFFFFF"/>
                </a:solidFill>
                <a:latin typeface="Aptos"/>
              </a:rPr>
              <a:t>llo</a:t>
            </a:r>
            <a:r>
              <a:rPr lang="nl-NL" sz="1200" b="1" baseline="0">
                <a:solidFill>
                  <a:srgbClr val="FFFFFF"/>
                </a:solidFill>
                <a:latin typeface="Aptos"/>
              </a:rPr>
              <a:t> de groei van </a:t>
            </a:r>
            <a:r>
              <a:rPr lang="nl-NL" sz="1200" b="1">
                <a:solidFill>
                  <a:srgbClr val="FFFFFF"/>
                </a:solidFill>
                <a:latin typeface="Aptos"/>
              </a:rPr>
              <a:t>onze </a:t>
            </a:r>
            <a:r>
              <a:rPr lang="nl-NL" sz="1200" b="1" baseline="0">
                <a:solidFill>
                  <a:srgbClr val="FFFFFF"/>
                </a:solidFill>
                <a:latin typeface="Aptos"/>
              </a:rPr>
              <a:t>professionals ondersteunen 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9A232E47-1131-3331-739E-87EA294D425A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3D4077F7-4A9C-8BE7-E9A6-F797AA89AED0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>
                <a:solidFill>
                  <a:srgbClr val="FFFFFF"/>
                </a:solidFill>
                <a:latin typeface="Aptos" panose="02110004020202020204"/>
              </a:rPr>
              <a:t>Verduurzamen portfolio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734EF124-BE10-598E-62A8-22B61683D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3A1D6B3B-5F34-CA85-0778-A05D337DF2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CA9926C6-FA97-ED0E-2102-E85703CC8B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BBC4B63C-E843-A6CD-881F-D53852824C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grpSp>
        <p:nvGrpSpPr>
          <p:cNvPr id="153" name="Groep 152">
            <a:extLst>
              <a:ext uri="{FF2B5EF4-FFF2-40B4-BE49-F238E27FC236}">
                <a16:creationId xmlns:a16="http://schemas.microsoft.com/office/drawing/2014/main" id="{B47B5512-8FE1-AEF0-BE48-F6B3BE6CDF13}"/>
              </a:ext>
            </a:extLst>
          </p:cNvPr>
          <p:cNvGrpSpPr/>
          <p:nvPr/>
        </p:nvGrpSpPr>
        <p:grpSpPr>
          <a:xfrm>
            <a:off x="1358223" y="2053608"/>
            <a:ext cx="2368072" cy="1042039"/>
            <a:chOff x="1358223" y="3001022"/>
            <a:chExt cx="2368072" cy="1042039"/>
          </a:xfrm>
        </p:grpSpPr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677F0BC3-2E30-7BF4-DD45-11583FBA0AC9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D3705E40-6A56-4A77-8EAD-8C91867F2EB8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Academische vorming: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Kritische oordeelvorming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Academische vaardigheden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Verschillende perspectieven</a:t>
                </a:r>
              </a:p>
            </p:txBody>
          </p:sp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B6F5FAA5-C8D8-2397-A458-A48DBEA8052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8" name="Rechthoek: afgeronde hoeken 27">
                  <a:extLst>
                    <a:ext uri="{FF2B5EF4-FFF2-40B4-BE49-F238E27FC236}">
                      <a16:creationId xmlns:a16="http://schemas.microsoft.com/office/drawing/2014/main" id="{7FEAE8DC-E01E-9D40-7363-FD9B19167BC8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al 21">
                  <a:extLst>
                    <a:ext uri="{FF2B5EF4-FFF2-40B4-BE49-F238E27FC236}">
                      <a16:creationId xmlns:a16="http://schemas.microsoft.com/office/drawing/2014/main" id="{6408CFAD-4622-6D40-50D8-C186840AAEEC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al 22">
                  <a:extLst>
                    <a:ext uri="{FF2B5EF4-FFF2-40B4-BE49-F238E27FC236}">
                      <a16:creationId xmlns:a16="http://schemas.microsoft.com/office/drawing/2014/main" id="{92325CD1-7265-DD00-1847-672B6A662F5B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23">
                  <a:extLst>
                    <a:ext uri="{FF2B5EF4-FFF2-40B4-BE49-F238E27FC236}">
                      <a16:creationId xmlns:a16="http://schemas.microsoft.com/office/drawing/2014/main" id="{FFA643BD-9758-6274-A89A-EB993C59B300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6" name="Rechthoek: afgeronde hoeken 135">
              <a:extLst>
                <a:ext uri="{FF2B5EF4-FFF2-40B4-BE49-F238E27FC236}">
                  <a16:creationId xmlns:a16="http://schemas.microsoft.com/office/drawing/2014/main" id="{D6A635A8-82E5-E28C-0482-6A8769F5EDFB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ODs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via Leerlijnen</a:t>
              </a:r>
            </a:p>
          </p:txBody>
        </p:sp>
      </p:grpSp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1F205FFA-CD93-F1D3-C507-501B215AA1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pic>
        <p:nvPicPr>
          <p:cNvPr id="138" name="Graphic 137" descr="Studentenbaret bij afstuderen met effen opvulling">
            <a:extLst>
              <a:ext uri="{FF2B5EF4-FFF2-40B4-BE49-F238E27FC236}">
                <a16:creationId xmlns:a16="http://schemas.microsoft.com/office/drawing/2014/main" id="{0A839C9D-076F-30E0-C346-B01322C562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7396" y="891961"/>
            <a:ext cx="144000" cy="144000"/>
          </a:xfrm>
          <a:prstGeom prst="rect">
            <a:avLst/>
          </a:prstGeom>
        </p:spPr>
      </p:pic>
      <p:pic>
        <p:nvPicPr>
          <p:cNvPr id="139" name="Graphic 138" descr="Studentenbaret bij afstuderen met effen opvulling">
            <a:extLst>
              <a:ext uri="{FF2B5EF4-FFF2-40B4-BE49-F238E27FC236}">
                <a16:creationId xmlns:a16="http://schemas.microsoft.com/office/drawing/2014/main" id="{5F4B1410-8B82-CD8A-2022-AE68F24D5F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6569" y="907632"/>
            <a:ext cx="144000" cy="144000"/>
          </a:xfrm>
          <a:prstGeom prst="rect">
            <a:avLst/>
          </a:prstGeom>
        </p:spPr>
      </p:pic>
      <p:pic>
        <p:nvPicPr>
          <p:cNvPr id="140" name="Graphic 139" descr="Aspiratie met effen opvulling">
            <a:extLst>
              <a:ext uri="{FF2B5EF4-FFF2-40B4-BE49-F238E27FC236}">
                <a16:creationId xmlns:a16="http://schemas.microsoft.com/office/drawing/2014/main" id="{1E4A39DC-E6BA-1019-EBA8-6BEB8F87B4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569" y="907632"/>
            <a:ext cx="144000" cy="144000"/>
          </a:xfrm>
          <a:prstGeom prst="rect">
            <a:avLst/>
          </a:prstGeom>
        </p:spPr>
      </p:pic>
      <p:grpSp>
        <p:nvGrpSpPr>
          <p:cNvPr id="154" name="Groep 153">
            <a:extLst>
              <a:ext uri="{FF2B5EF4-FFF2-40B4-BE49-F238E27FC236}">
                <a16:creationId xmlns:a16="http://schemas.microsoft.com/office/drawing/2014/main" id="{3A6CD775-90BB-4750-B878-A4A904EEE5BA}"/>
              </a:ext>
            </a:extLst>
          </p:cNvPr>
          <p:cNvGrpSpPr/>
          <p:nvPr/>
        </p:nvGrpSpPr>
        <p:grpSpPr>
          <a:xfrm>
            <a:off x="1355753" y="3230467"/>
            <a:ext cx="2368072" cy="1042039"/>
            <a:chOff x="1358223" y="3001022"/>
            <a:chExt cx="2368072" cy="1042039"/>
          </a:xfrm>
        </p:grpSpPr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C865310F-94A8-1CA8-BC7E-1D84293B964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57" name="Rechthoek: afgeronde hoeken 156">
                <a:extLst>
                  <a:ext uri="{FF2B5EF4-FFF2-40B4-BE49-F238E27FC236}">
                    <a16:creationId xmlns:a16="http://schemas.microsoft.com/office/drawing/2014/main" id="{B323E160-2DF1-3660-53EA-E6F1F25E5C8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​Maatschappelijke verantwoordelijkheid: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Over grenzen van disciplines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Kennis inzetten voor oplossingen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Omgaan met verandering</a:t>
                </a:r>
              </a:p>
            </p:txBody>
          </p:sp>
          <p:grpSp>
            <p:nvGrpSpPr>
              <p:cNvPr id="158" name="Groep 157">
                <a:extLst>
                  <a:ext uri="{FF2B5EF4-FFF2-40B4-BE49-F238E27FC236}">
                    <a16:creationId xmlns:a16="http://schemas.microsoft.com/office/drawing/2014/main" id="{AA5745CE-17D4-BACA-B453-C517D60FA703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59" name="Rechthoek: afgeronde hoeken 158">
                  <a:extLst>
                    <a:ext uri="{FF2B5EF4-FFF2-40B4-BE49-F238E27FC236}">
                      <a16:creationId xmlns:a16="http://schemas.microsoft.com/office/drawing/2014/main" id="{1B8BA303-C34B-5C47-1AF6-0BEA0883163C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al 159">
                  <a:extLst>
                    <a:ext uri="{FF2B5EF4-FFF2-40B4-BE49-F238E27FC236}">
                      <a16:creationId xmlns:a16="http://schemas.microsoft.com/office/drawing/2014/main" id="{088E3363-C46C-9CD7-C4F3-F13E7ACEE07C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Ovaal 160">
                  <a:extLst>
                    <a:ext uri="{FF2B5EF4-FFF2-40B4-BE49-F238E27FC236}">
                      <a16:creationId xmlns:a16="http://schemas.microsoft.com/office/drawing/2014/main" id="{6F350091-7E2A-224F-B7A3-2C1E9BCF19E9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al 161">
                  <a:extLst>
                    <a:ext uri="{FF2B5EF4-FFF2-40B4-BE49-F238E27FC236}">
                      <a16:creationId xmlns:a16="http://schemas.microsoft.com/office/drawing/2014/main" id="{6FCBC51E-9B56-D596-5987-CA6F0AF6A16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6" name="Rechthoek: afgeronde hoeken 155">
              <a:extLst>
                <a:ext uri="{FF2B5EF4-FFF2-40B4-BE49-F238E27FC236}">
                  <a16:creationId xmlns:a16="http://schemas.microsoft.com/office/drawing/2014/main" id="{696DEBAB-6484-CAE8-6126-E2A8C0E39AC0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FB via delen best-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practices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&amp; stimuleren interdisciplinariteit &amp;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outward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activiteiten</a:t>
              </a:r>
            </a:p>
          </p:txBody>
        </p:sp>
      </p:grpSp>
      <p:grpSp>
        <p:nvGrpSpPr>
          <p:cNvPr id="167" name="Groep 166">
            <a:extLst>
              <a:ext uri="{FF2B5EF4-FFF2-40B4-BE49-F238E27FC236}">
                <a16:creationId xmlns:a16="http://schemas.microsoft.com/office/drawing/2014/main" id="{CE7BF77A-40B8-9F1C-61BE-A274737A68A1}"/>
              </a:ext>
            </a:extLst>
          </p:cNvPr>
          <p:cNvGrpSpPr/>
          <p:nvPr/>
        </p:nvGrpSpPr>
        <p:grpSpPr>
          <a:xfrm>
            <a:off x="4054329" y="2053608"/>
            <a:ext cx="2368072" cy="1042039"/>
            <a:chOff x="1358223" y="3001022"/>
            <a:chExt cx="2368072" cy="1042039"/>
          </a:xfrm>
        </p:grpSpPr>
        <p:grpSp>
          <p:nvGrpSpPr>
            <p:cNvPr id="168" name="Groep 167">
              <a:extLst>
                <a:ext uri="{FF2B5EF4-FFF2-40B4-BE49-F238E27FC236}">
                  <a16:creationId xmlns:a16="http://schemas.microsoft.com/office/drawing/2014/main" id="{8AAC0D91-E59A-9C5C-3A77-6B6B9E36C72C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0" name="Rechthoek: afgeronde hoeken 169">
                <a:extLst>
                  <a:ext uri="{FF2B5EF4-FFF2-40B4-BE49-F238E27FC236}">
                    <a16:creationId xmlns:a16="http://schemas.microsoft.com/office/drawing/2014/main" id="{C1DE184D-AD5D-0F9F-D6AF-967516BEE97C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Digital &amp; AI </a:t>
                </a:r>
                <a:r>
                  <a:rPr lang="nl-NL" sz="800" err="1">
                    <a:solidFill>
                      <a:schemeClr val="tx1"/>
                    </a:solidFill>
                    <a:latin typeface="Aptos" panose="02110004020202020204"/>
                  </a:rPr>
                  <a:t>literacy</a:t>
                </a:r>
                <a:endParaRPr lang="nl-NL" sz="800">
                  <a:solidFill>
                    <a:schemeClr val="tx1"/>
                  </a:solidFill>
                  <a:latin typeface="Aptos" panose="02110004020202020204"/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Didactische visie op AI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Docent professionalisering</a:t>
                </a:r>
                <a:endParaRPr lang="nl-NL" sz="80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Student AI bekwaam maken</a:t>
                </a:r>
              </a:p>
              <a:p>
                <a:pPr>
                  <a:defRPr/>
                </a:pPr>
                <a:endParaRPr lang="nl-NL" sz="8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E637E54C-EEB1-E357-6668-1B6356DAB42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72" name="Rechthoek: afgeronde hoeken 171">
                  <a:extLst>
                    <a:ext uri="{FF2B5EF4-FFF2-40B4-BE49-F238E27FC236}">
                      <a16:creationId xmlns:a16="http://schemas.microsoft.com/office/drawing/2014/main" id="{F2623AE0-CA51-CCF0-526C-2A7B91C47440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Ovaal 172">
                  <a:extLst>
                    <a:ext uri="{FF2B5EF4-FFF2-40B4-BE49-F238E27FC236}">
                      <a16:creationId xmlns:a16="http://schemas.microsoft.com/office/drawing/2014/main" id="{2C44EF4A-8D99-3B25-8EF3-6011A5DF236F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al 173">
                  <a:extLst>
                    <a:ext uri="{FF2B5EF4-FFF2-40B4-BE49-F238E27FC236}">
                      <a16:creationId xmlns:a16="http://schemas.microsoft.com/office/drawing/2014/main" id="{E3CA82E5-4E1F-5861-8840-5A1BCC0B459F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Ovaal 174">
                  <a:extLst>
                    <a:ext uri="{FF2B5EF4-FFF2-40B4-BE49-F238E27FC236}">
                      <a16:creationId xmlns:a16="http://schemas.microsoft.com/office/drawing/2014/main" id="{EF937729-BDDC-2DB9-8A07-45CCDD0C9502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9" name="Rechthoek: afgeronde hoeken 168">
              <a:extLst>
                <a:ext uri="{FF2B5EF4-FFF2-40B4-BE49-F238E27FC236}">
                  <a16:creationId xmlns:a16="http://schemas.microsoft.com/office/drawing/2014/main" id="{7EE89574-3A43-3904-0361-54E75223BBFF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Iedereen op alle niveaus</a:t>
              </a:r>
            </a:p>
          </p:txBody>
        </p:sp>
      </p:grpSp>
      <p:grpSp>
        <p:nvGrpSpPr>
          <p:cNvPr id="176" name="Groep 175">
            <a:extLst>
              <a:ext uri="{FF2B5EF4-FFF2-40B4-BE49-F238E27FC236}">
                <a16:creationId xmlns:a16="http://schemas.microsoft.com/office/drawing/2014/main" id="{58F4BD0E-ED4D-D325-1F98-EFFA996D53CE}"/>
              </a:ext>
            </a:extLst>
          </p:cNvPr>
          <p:cNvGrpSpPr/>
          <p:nvPr/>
        </p:nvGrpSpPr>
        <p:grpSpPr>
          <a:xfrm>
            <a:off x="4051859" y="3230467"/>
            <a:ext cx="2368072" cy="1042039"/>
            <a:chOff x="1358223" y="3001022"/>
            <a:chExt cx="2368072" cy="1042039"/>
          </a:xfrm>
        </p:grpSpPr>
        <p:grpSp>
          <p:nvGrpSpPr>
            <p:cNvPr id="177" name="Groep 176">
              <a:extLst>
                <a:ext uri="{FF2B5EF4-FFF2-40B4-BE49-F238E27FC236}">
                  <a16:creationId xmlns:a16="http://schemas.microsoft.com/office/drawing/2014/main" id="{DFC52D96-30A2-F1B3-8015-5AF78F9B454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9" name="Rechthoek: afgeronde hoeken 178">
                <a:extLst>
                  <a:ext uri="{FF2B5EF4-FFF2-40B4-BE49-F238E27FC236}">
                    <a16:creationId xmlns:a16="http://schemas.microsoft.com/office/drawing/2014/main" id="{18107D1F-051B-0D09-E11A-02DEA46370D4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192243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Persoonlijke ontwikkeling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Verantwoordelijk voor eigen leerproces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Diverse perspectieven / mixed class room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Omgaan met onzekerheid</a:t>
                </a:r>
              </a:p>
            </p:txBody>
          </p:sp>
          <p:grpSp>
            <p:nvGrpSpPr>
              <p:cNvPr id="180" name="Groep 179">
                <a:extLst>
                  <a:ext uri="{FF2B5EF4-FFF2-40B4-BE49-F238E27FC236}">
                    <a16:creationId xmlns:a16="http://schemas.microsoft.com/office/drawing/2014/main" id="{9DDF5972-BFF8-0F2A-3C46-F0686377813C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81" name="Rechthoek: afgeronde hoeken 180">
                  <a:extLst>
                    <a:ext uri="{FF2B5EF4-FFF2-40B4-BE49-F238E27FC236}">
                      <a16:creationId xmlns:a16="http://schemas.microsoft.com/office/drawing/2014/main" id="{DAD97AC1-8855-A34E-22CC-83EB259AF2C7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Ovaal 181">
                  <a:extLst>
                    <a:ext uri="{FF2B5EF4-FFF2-40B4-BE49-F238E27FC236}">
                      <a16:creationId xmlns:a16="http://schemas.microsoft.com/office/drawing/2014/main" id="{041E9472-103E-499E-2EE1-943C04C09170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Ovaal 182">
                  <a:extLst>
                    <a:ext uri="{FF2B5EF4-FFF2-40B4-BE49-F238E27FC236}">
                      <a16:creationId xmlns:a16="http://schemas.microsoft.com/office/drawing/2014/main" id="{C2035299-3974-49CA-F732-8159C66956DA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al 183">
                  <a:extLst>
                    <a:ext uri="{FF2B5EF4-FFF2-40B4-BE49-F238E27FC236}">
                      <a16:creationId xmlns:a16="http://schemas.microsoft.com/office/drawing/2014/main" id="{C548D250-4F42-3CFB-E18A-F069C6290A0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Rechthoek: afgeronde hoeken 177">
              <a:extLst>
                <a:ext uri="{FF2B5EF4-FFF2-40B4-BE49-F238E27FC236}">
                  <a16:creationId xmlns:a16="http://schemas.microsoft.com/office/drawing/2014/main" id="{EC92D6E0-054A-1C63-B469-CA866E33EC70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Iedereen op alle niveaus</a:t>
              </a:r>
            </a:p>
          </p:txBody>
        </p:sp>
      </p:grpSp>
      <p:grpSp>
        <p:nvGrpSpPr>
          <p:cNvPr id="185" name="Groep 184">
            <a:extLst>
              <a:ext uri="{FF2B5EF4-FFF2-40B4-BE49-F238E27FC236}">
                <a16:creationId xmlns:a16="http://schemas.microsoft.com/office/drawing/2014/main" id="{2A6CB08B-3130-FB8E-08A7-4B72CBBB50DC}"/>
              </a:ext>
            </a:extLst>
          </p:cNvPr>
          <p:cNvGrpSpPr/>
          <p:nvPr/>
        </p:nvGrpSpPr>
        <p:grpSpPr>
          <a:xfrm>
            <a:off x="6706007" y="2053608"/>
            <a:ext cx="2368072" cy="1042039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4BCDB5E6-5FFF-F958-28FF-D56364D7FFD8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71F2C9F8-494E-0713-2C2B-E84B11354CE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rgbClr val="0F1115"/>
                    </a:solidFill>
                    <a:ea typeface="+mn-lt"/>
                    <a:cs typeface="+mn-lt"/>
                  </a:rPr>
                  <a:t>Opzetten van een intern expertisenetwerk: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rgbClr val="0F1115"/>
                    </a:solidFill>
                    <a:ea typeface="+mn-lt"/>
                    <a:cs typeface="+mn-lt"/>
                  </a:rPr>
                  <a:t>kennisdeling, </a:t>
                </a:r>
                <a:endParaRPr lang="nl-NL" sz="800">
                  <a:solidFill>
                    <a:srgbClr val="0077B3"/>
                  </a:solidFill>
                  <a:ea typeface="+mn-lt"/>
                  <a:cs typeface="+mn-lt"/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err="1">
                    <a:solidFill>
                      <a:srgbClr val="0F1115"/>
                    </a:solidFill>
                    <a:ea typeface="+mn-lt"/>
                    <a:cs typeface="+mn-lt"/>
                  </a:rPr>
                  <a:t>mentoring</a:t>
                </a:r>
                <a:r>
                  <a:rPr lang="nl-NL" sz="800">
                    <a:solidFill>
                      <a:srgbClr val="0F1115"/>
                    </a:solidFill>
                    <a:ea typeface="+mn-lt"/>
                    <a:cs typeface="+mn-lt"/>
                  </a:rPr>
                  <a:t> </a:t>
                </a:r>
                <a:endParaRPr lang="nl-NL" sz="800">
                  <a:solidFill>
                    <a:srgbClr val="0077B3"/>
                  </a:solidFill>
                  <a:ea typeface="+mn-lt"/>
                  <a:cs typeface="+mn-lt"/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rgbClr val="0F1115"/>
                    </a:solidFill>
                    <a:ea typeface="+mn-lt"/>
                    <a:cs typeface="+mn-lt"/>
                  </a:rPr>
                  <a:t>gezamenlijke ontwikkeling</a:t>
                </a:r>
                <a:endParaRPr lang="nl-NL" sz="800"/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F3F9656B-DF0A-1183-7121-32214B0CBA65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D584846D-EE2A-C456-4628-0C194F2DCC30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433320D3-A5F8-C0A3-F083-F96567B9DAEA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EF4D6069-947E-DA94-A17D-6B9E29BE7627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DE9608BB-EBAE-6541-C935-E8C032255C99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7469816A-2A64-5634-ECD5-722C09667198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5F7B0ACF-043D-C8B4-DA25-43B3FA7A112A}"/>
              </a:ext>
            </a:extLst>
          </p:cNvPr>
          <p:cNvGrpSpPr/>
          <p:nvPr/>
        </p:nvGrpSpPr>
        <p:grpSpPr>
          <a:xfrm>
            <a:off x="6703537" y="3230467"/>
            <a:ext cx="2368072" cy="1042039"/>
            <a:chOff x="1358223" y="3001022"/>
            <a:chExt cx="2368072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4B674294-BDCE-4DCF-EF23-86B5E5B0DA90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238872F2-BBAA-A830-8335-B97A22812ED3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Introductie van een </a:t>
                </a:r>
                <a:r>
                  <a:rPr lang="nl-NL" sz="800" dirty="0" err="1">
                    <a:solidFill>
                      <a:srgbClr val="0F1115"/>
                    </a:solidFill>
                    <a:ea typeface="+mn-lt"/>
                    <a:cs typeface="+mn-lt"/>
                  </a:rPr>
                  <a:t>Grassroots</a:t>
                </a: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 LLO </a:t>
                </a:r>
                <a:r>
                  <a:rPr lang="nl-NL" sz="800" dirty="0" err="1">
                    <a:solidFill>
                      <a:srgbClr val="0F1115"/>
                    </a:solidFill>
                    <a:ea typeface="+mn-lt"/>
                    <a:cs typeface="+mn-lt"/>
                  </a:rPr>
                  <a:t>Innovation</a:t>
                </a: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 Grant: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module-ontwikkeling, </a:t>
                </a:r>
                <a:endParaRPr lang="nl-NL" sz="800" dirty="0">
                  <a:solidFill>
                    <a:srgbClr val="0077B3"/>
                  </a:solidFill>
                  <a:ea typeface="+mn-lt"/>
                  <a:cs typeface="+mn-lt"/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marktverkenning </a:t>
                </a:r>
                <a:endParaRPr lang="nl-NL" sz="800" dirty="0">
                  <a:solidFill>
                    <a:srgbClr val="0077B3"/>
                  </a:solidFill>
                  <a:ea typeface="+mn-lt"/>
                  <a:cs typeface="+mn-lt"/>
                </a:endParaRP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rgbClr val="0F1115"/>
                    </a:solidFill>
                    <a:ea typeface="+mn-lt"/>
                    <a:cs typeface="+mn-lt"/>
                  </a:rPr>
                  <a:t>businesscases</a:t>
                </a:r>
                <a:endParaRPr lang="nl-NL" sz="800" dirty="0"/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120BB6AC-C5D2-0443-568C-BF9DBDBDB282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9FC29A5A-4B53-9A7D-E40A-C111B0DA95B3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7860CB30-29BF-9969-7CC3-F1A20EE80EF0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1577FD49-CAA5-D8BB-F1A4-3C2AAD38AB5B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830BFAFE-697F-F27A-0225-9082ACFC1E3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3988A7A7-F9BB-1CBE-97BD-D4540395F66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D9A98CDE-1B9F-0D68-9CCE-BF652D210971}"/>
              </a:ext>
            </a:extLst>
          </p:cNvPr>
          <p:cNvGrpSpPr/>
          <p:nvPr/>
        </p:nvGrpSpPr>
        <p:grpSpPr>
          <a:xfrm>
            <a:off x="9377654" y="2053965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5C0216DE-B3F6-B02B-3B81-E08448DC12E5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87AAF9E3-C442-0766-B011-932EDE489E9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Operationaliseren van afwegingskader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Mc </a:t>
                </a:r>
                <a:r>
                  <a:rPr lang="nl-NL" sz="800" dirty="0" err="1">
                    <a:solidFill>
                      <a:schemeClr val="tx1"/>
                    </a:solidFill>
                    <a:latin typeface="Aptos" panose="02110004020202020204"/>
                  </a:rPr>
                  <a:t>Millan</a:t>
                </a: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 matrix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Gesprek met </a:t>
                </a:r>
                <a:r>
                  <a:rPr lang="nl-NL" sz="800" dirty="0" err="1">
                    <a:solidFill>
                      <a:schemeClr val="tx1"/>
                    </a:solidFill>
                    <a:latin typeface="Aptos" panose="02110004020202020204"/>
                  </a:rPr>
                  <a:t>ODs</a:t>
                </a: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 en </a:t>
                </a:r>
                <a:r>
                  <a:rPr lang="nl-NL" sz="800" dirty="0" err="1">
                    <a:solidFill>
                      <a:schemeClr val="tx1"/>
                    </a:solidFill>
                    <a:latin typeface="Aptos" panose="02110004020202020204"/>
                  </a:rPr>
                  <a:t>AHOs</a:t>
                </a: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 dirty="0">
                    <a:solidFill>
                      <a:schemeClr val="tx1"/>
                    </a:solidFill>
                    <a:latin typeface="Aptos" panose="02110004020202020204"/>
                  </a:rPr>
                  <a:t>Toepassen van kader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E1700448-E1E0-6F1E-3C33-780D17D0D6BC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A951A26E-98F9-8D40-BE95-10778F95415D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8F9F8489-9867-E660-FB79-C0323A1CF1B9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E1BE8B6D-C50C-80D9-2024-C832887A7F84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416189C3-C94A-2969-B9C0-212C9B7C08D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F7F0E561-27BD-5DD6-1E69-5C85EC0CFABD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FB &amp; CvB</a:t>
              </a:r>
            </a:p>
          </p:txBody>
        </p:sp>
      </p:grpSp>
      <p:cxnSp>
        <p:nvCxnSpPr>
          <p:cNvPr id="2" name="Rechte verbindingslijn 112">
            <a:extLst>
              <a:ext uri="{FF2B5EF4-FFF2-40B4-BE49-F238E27FC236}">
                <a16:creationId xmlns:a16="http://schemas.microsoft.com/office/drawing/2014/main" id="{16648EC8-F091-2B66-0899-B3C7F56BACBE}"/>
              </a:ext>
            </a:extLst>
          </p:cNvPr>
          <p:cNvCxnSpPr>
            <a:cxnSpLocks/>
          </p:cNvCxnSpPr>
          <p:nvPr/>
        </p:nvCxnSpPr>
        <p:spPr>
          <a:xfrm>
            <a:off x="171005" y="4040805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Rechte verbindingslijn 162">
            <a:extLst>
              <a:ext uri="{FF2B5EF4-FFF2-40B4-BE49-F238E27FC236}">
                <a16:creationId xmlns:a16="http://schemas.microsoft.com/office/drawing/2014/main" id="{D6548046-6C9A-59ED-FA21-F2C78B19034F}"/>
              </a:ext>
            </a:extLst>
          </p:cNvPr>
          <p:cNvCxnSpPr>
            <a:cxnSpLocks/>
          </p:cNvCxnSpPr>
          <p:nvPr/>
        </p:nvCxnSpPr>
        <p:spPr>
          <a:xfrm>
            <a:off x="9260472" y="2313324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ep 202">
            <a:extLst>
              <a:ext uri="{FF2B5EF4-FFF2-40B4-BE49-F238E27FC236}">
                <a16:creationId xmlns:a16="http://schemas.microsoft.com/office/drawing/2014/main" id="{7EB7A97E-6F0C-B01E-6CB8-5384787FB938}"/>
              </a:ext>
            </a:extLst>
          </p:cNvPr>
          <p:cNvGrpSpPr/>
          <p:nvPr/>
        </p:nvGrpSpPr>
        <p:grpSpPr>
          <a:xfrm>
            <a:off x="9386643" y="3260891"/>
            <a:ext cx="2368072" cy="1042039"/>
            <a:chOff x="1358223" y="3001022"/>
            <a:chExt cx="2368072" cy="1042039"/>
          </a:xfrm>
        </p:grpSpPr>
        <p:grpSp>
          <p:nvGrpSpPr>
            <p:cNvPr id="5" name="Groep 203">
              <a:extLst>
                <a:ext uri="{FF2B5EF4-FFF2-40B4-BE49-F238E27FC236}">
                  <a16:creationId xmlns:a16="http://schemas.microsoft.com/office/drawing/2014/main" id="{3CD0CA75-0961-0B0C-8CB1-6A72F399BD41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7" name="Rechthoek: afgeronde hoeken 205">
                <a:extLst>
                  <a:ext uri="{FF2B5EF4-FFF2-40B4-BE49-F238E27FC236}">
                    <a16:creationId xmlns:a16="http://schemas.microsoft.com/office/drawing/2014/main" id="{A6C10D0A-F5F9-4197-4CEF-73F152930DEB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Landelijke/regionale afstemming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Sectorbeelden domeinen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Gesprekken met afnemend veld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r>
                  <a:rPr lang="nl-NL" sz="800">
                    <a:solidFill>
                      <a:schemeClr val="tx1"/>
                    </a:solidFill>
                    <a:latin typeface="Aptos" panose="02110004020202020204"/>
                  </a:rPr>
                  <a:t>Afstemming met zusterinstellingen</a:t>
                </a:r>
              </a:p>
              <a:p>
                <a:pPr marL="171450" indent="-171450">
                  <a:buFont typeface="Calibri"/>
                  <a:buChar char="-"/>
                  <a:defRPr/>
                </a:pPr>
                <a:endParaRPr lang="nl-NL" sz="8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2" name="Groep 206">
                <a:extLst>
                  <a:ext uri="{FF2B5EF4-FFF2-40B4-BE49-F238E27FC236}">
                    <a16:creationId xmlns:a16="http://schemas.microsoft.com/office/drawing/2014/main" id="{04D43DAF-C06A-435F-D55D-E6CA03187ABB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4" name="Rechthoek: afgeronde hoeken 207">
                  <a:extLst>
                    <a:ext uri="{FF2B5EF4-FFF2-40B4-BE49-F238E27FC236}">
                      <a16:creationId xmlns:a16="http://schemas.microsoft.com/office/drawing/2014/main" id="{12E33660-57D0-1011-4549-FCDA52A16794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Ovaal 208">
                  <a:extLst>
                    <a:ext uri="{FF2B5EF4-FFF2-40B4-BE49-F238E27FC236}">
                      <a16:creationId xmlns:a16="http://schemas.microsoft.com/office/drawing/2014/main" id="{C01DB778-08CE-89DE-BA6E-A030CC553E71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al 209">
                  <a:extLst>
                    <a:ext uri="{FF2B5EF4-FFF2-40B4-BE49-F238E27FC236}">
                      <a16:creationId xmlns:a16="http://schemas.microsoft.com/office/drawing/2014/main" id="{17A3B2AF-253B-F1AB-1F02-C909D2F9BABF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al 210">
                  <a:extLst>
                    <a:ext uri="{FF2B5EF4-FFF2-40B4-BE49-F238E27FC236}">
                      <a16:creationId xmlns:a16="http://schemas.microsoft.com/office/drawing/2014/main" id="{B4A16584-0C25-BCD5-27A7-07878B6A567F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hthoek: afgeronde hoeken 204">
              <a:extLst>
                <a:ext uri="{FF2B5EF4-FFF2-40B4-BE49-F238E27FC236}">
                  <a16:creationId xmlns:a16="http://schemas.microsoft.com/office/drawing/2014/main" id="{C151066C-493F-AD0E-DB82-A79D25C2C53D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FB</a:t>
              </a:r>
            </a:p>
          </p:txBody>
        </p:sp>
      </p:grpSp>
      <p:sp>
        <p:nvSpPr>
          <p:cNvPr id="20" name="Pijl: vijfhoek 10">
            <a:extLst>
              <a:ext uri="{FF2B5EF4-FFF2-40B4-BE49-F238E27FC236}">
                <a16:creationId xmlns:a16="http://schemas.microsoft.com/office/drawing/2014/main" id="{85E181E0-4CEB-0928-3D43-8306B6FE744E}"/>
              </a:ext>
            </a:extLst>
          </p:cNvPr>
          <p:cNvSpPr/>
          <p:nvPr/>
        </p:nvSpPr>
        <p:spPr>
          <a:xfrm>
            <a:off x="137394" y="4699786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grpSp>
        <p:nvGrpSpPr>
          <p:cNvPr id="21" name="Groep 77">
            <a:extLst>
              <a:ext uri="{FF2B5EF4-FFF2-40B4-BE49-F238E27FC236}">
                <a16:creationId xmlns:a16="http://schemas.microsoft.com/office/drawing/2014/main" id="{723F28B5-54BF-E2EB-7D51-9278ACC0EDFC}"/>
              </a:ext>
            </a:extLst>
          </p:cNvPr>
          <p:cNvGrpSpPr/>
          <p:nvPr/>
        </p:nvGrpSpPr>
        <p:grpSpPr>
          <a:xfrm>
            <a:off x="1329092" y="4647205"/>
            <a:ext cx="2416182" cy="890920"/>
            <a:chOff x="1329092" y="1590911"/>
            <a:chExt cx="2416182" cy="890920"/>
          </a:xfrm>
        </p:grpSpPr>
        <p:grpSp>
          <p:nvGrpSpPr>
            <p:cNvPr id="25" name="Groep 73">
              <a:extLst>
                <a:ext uri="{FF2B5EF4-FFF2-40B4-BE49-F238E27FC236}">
                  <a16:creationId xmlns:a16="http://schemas.microsoft.com/office/drawing/2014/main" id="{79D10810-0518-E11A-8D05-945E39B62F58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36" name="Rechthoek: afgeronde hoeken 8">
                <a:extLst>
                  <a:ext uri="{FF2B5EF4-FFF2-40B4-BE49-F238E27FC236}">
                    <a16:creationId xmlns:a16="http://schemas.microsoft.com/office/drawing/2014/main" id="{299FE126-5BD9-1363-AD05-1D590E8765BC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endParaRPr lang="nl-NL" sz="800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hthoek: afgeronde hoeken 27">
                <a:extLst>
                  <a:ext uri="{FF2B5EF4-FFF2-40B4-BE49-F238E27FC236}">
                    <a16:creationId xmlns:a16="http://schemas.microsoft.com/office/drawing/2014/main" id="{61D9212D-9A92-24CA-120E-448DA00AA675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26" name="Tekstvak 66">
              <a:extLst>
                <a:ext uri="{FF2B5EF4-FFF2-40B4-BE49-F238E27FC236}">
                  <a16:creationId xmlns:a16="http://schemas.microsoft.com/office/drawing/2014/main" id="{A8DAD23E-634A-D9ED-9B73-624BE6CBF9BA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27" name="Groep 72">
              <a:extLst>
                <a:ext uri="{FF2B5EF4-FFF2-40B4-BE49-F238E27FC236}">
                  <a16:creationId xmlns:a16="http://schemas.microsoft.com/office/drawing/2014/main" id="{8C4F845E-CB0F-C7FB-CD0C-27AABB1B771F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33" name="Rechthoek: afgeronde hoeken 67">
                <a:extLst>
                  <a:ext uri="{FF2B5EF4-FFF2-40B4-BE49-F238E27FC236}">
                    <a16:creationId xmlns:a16="http://schemas.microsoft.com/office/drawing/2014/main" id="{52019666-8EC9-EA1E-F352-85B66E542449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hthoek: afgeronde hoeken 27">
                <a:extLst>
                  <a:ext uri="{FF2B5EF4-FFF2-40B4-BE49-F238E27FC236}">
                    <a16:creationId xmlns:a16="http://schemas.microsoft.com/office/drawing/2014/main" id="{2C70D5B6-AF9E-2D4E-DB6F-F2047C580D11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30" name="Groep 74">
              <a:extLst>
                <a:ext uri="{FF2B5EF4-FFF2-40B4-BE49-F238E27FC236}">
                  <a16:creationId xmlns:a16="http://schemas.microsoft.com/office/drawing/2014/main" id="{CAE720D0-8593-DF6A-D7D4-E616131F3D7A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31" name="Rechthoek: afgeronde hoeken 75">
                <a:extLst>
                  <a:ext uri="{FF2B5EF4-FFF2-40B4-BE49-F238E27FC236}">
                    <a16:creationId xmlns:a16="http://schemas.microsoft.com/office/drawing/2014/main" id="{0E0E7F1F-EA4C-D3D0-1F73-8A653BCB149E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hthoek: afgeronde hoeken 27">
                <a:extLst>
                  <a:ext uri="{FF2B5EF4-FFF2-40B4-BE49-F238E27FC236}">
                    <a16:creationId xmlns:a16="http://schemas.microsoft.com/office/drawing/2014/main" id="{03E09799-3868-93CF-92A4-6AD13762ADC9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38" name="Groep 78">
            <a:extLst>
              <a:ext uri="{FF2B5EF4-FFF2-40B4-BE49-F238E27FC236}">
                <a16:creationId xmlns:a16="http://schemas.microsoft.com/office/drawing/2014/main" id="{A5C426F8-9223-3B01-DBCD-68153513FEA2}"/>
              </a:ext>
            </a:extLst>
          </p:cNvPr>
          <p:cNvGrpSpPr/>
          <p:nvPr/>
        </p:nvGrpSpPr>
        <p:grpSpPr>
          <a:xfrm>
            <a:off x="4051930" y="4647205"/>
            <a:ext cx="2416182" cy="890920"/>
            <a:chOff x="1329092" y="1590911"/>
            <a:chExt cx="2416182" cy="890920"/>
          </a:xfrm>
        </p:grpSpPr>
        <p:grpSp>
          <p:nvGrpSpPr>
            <p:cNvPr id="39" name="Groep 79">
              <a:extLst>
                <a:ext uri="{FF2B5EF4-FFF2-40B4-BE49-F238E27FC236}">
                  <a16:creationId xmlns:a16="http://schemas.microsoft.com/office/drawing/2014/main" id="{76FFF5C7-CFA6-C273-0D94-C5DE03533418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47" name="Rechthoek: afgeronde hoeken 87">
                <a:extLst>
                  <a:ext uri="{FF2B5EF4-FFF2-40B4-BE49-F238E27FC236}">
                    <a16:creationId xmlns:a16="http://schemas.microsoft.com/office/drawing/2014/main" id="{DDBC0DFF-1CB1-F383-1A34-526878A2A66D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hthoek: afgeronde hoeken 27">
                <a:extLst>
                  <a:ext uri="{FF2B5EF4-FFF2-40B4-BE49-F238E27FC236}">
                    <a16:creationId xmlns:a16="http://schemas.microsoft.com/office/drawing/2014/main" id="{51683D2A-C821-4D44-6CE2-B77CD931F135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40" name="Tekstvak 80">
              <a:extLst>
                <a:ext uri="{FF2B5EF4-FFF2-40B4-BE49-F238E27FC236}">
                  <a16:creationId xmlns:a16="http://schemas.microsoft.com/office/drawing/2014/main" id="{86A5C519-D8F4-7CF8-8031-B47C85DF9ED3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41" name="Groep 81">
              <a:extLst>
                <a:ext uri="{FF2B5EF4-FFF2-40B4-BE49-F238E27FC236}">
                  <a16:creationId xmlns:a16="http://schemas.microsoft.com/office/drawing/2014/main" id="{6C71FB12-E8CB-7C3A-890C-410EA2D62D60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45" name="Rechthoek: afgeronde hoeken 85">
                <a:extLst>
                  <a:ext uri="{FF2B5EF4-FFF2-40B4-BE49-F238E27FC236}">
                    <a16:creationId xmlns:a16="http://schemas.microsoft.com/office/drawing/2014/main" id="{E7B1958C-9339-895C-40F8-BA005161AE2D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Rechthoek: afgeronde hoeken 27">
                <a:extLst>
                  <a:ext uri="{FF2B5EF4-FFF2-40B4-BE49-F238E27FC236}">
                    <a16:creationId xmlns:a16="http://schemas.microsoft.com/office/drawing/2014/main" id="{B2326743-485E-A400-AB6F-F5E7985788B3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42" name="Groep 82">
              <a:extLst>
                <a:ext uri="{FF2B5EF4-FFF2-40B4-BE49-F238E27FC236}">
                  <a16:creationId xmlns:a16="http://schemas.microsoft.com/office/drawing/2014/main" id="{892CD53B-1A31-CF7A-1736-BDEEC84AB58B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43" name="Rechthoek: afgeronde hoeken 83">
                <a:extLst>
                  <a:ext uri="{FF2B5EF4-FFF2-40B4-BE49-F238E27FC236}">
                    <a16:creationId xmlns:a16="http://schemas.microsoft.com/office/drawing/2014/main" id="{35D3592B-6F0A-6CD4-2445-3CB32F206E21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Rechthoek: afgeronde hoeken 27">
                <a:extLst>
                  <a:ext uri="{FF2B5EF4-FFF2-40B4-BE49-F238E27FC236}">
                    <a16:creationId xmlns:a16="http://schemas.microsoft.com/office/drawing/2014/main" id="{B0F1A704-4F74-8AB2-A382-4BC769914654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49" name="Groep 89">
            <a:extLst>
              <a:ext uri="{FF2B5EF4-FFF2-40B4-BE49-F238E27FC236}">
                <a16:creationId xmlns:a16="http://schemas.microsoft.com/office/drawing/2014/main" id="{9A34CA1A-C29A-3802-7F43-FDEB1443E8E8}"/>
              </a:ext>
            </a:extLst>
          </p:cNvPr>
          <p:cNvGrpSpPr/>
          <p:nvPr/>
        </p:nvGrpSpPr>
        <p:grpSpPr>
          <a:xfrm>
            <a:off x="6704631" y="4647205"/>
            <a:ext cx="2416182" cy="890920"/>
            <a:chOff x="1329092" y="1590911"/>
            <a:chExt cx="2416182" cy="890920"/>
          </a:xfrm>
        </p:grpSpPr>
        <p:grpSp>
          <p:nvGrpSpPr>
            <p:cNvPr id="50" name="Groep 90">
              <a:extLst>
                <a:ext uri="{FF2B5EF4-FFF2-40B4-BE49-F238E27FC236}">
                  <a16:creationId xmlns:a16="http://schemas.microsoft.com/office/drawing/2014/main" id="{FDC8FBE9-4450-F89E-190F-CE031263C7A5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58" name="Rechthoek: afgeronde hoeken 98">
                <a:extLst>
                  <a:ext uri="{FF2B5EF4-FFF2-40B4-BE49-F238E27FC236}">
                    <a16:creationId xmlns:a16="http://schemas.microsoft.com/office/drawing/2014/main" id="{7EB609DA-6E6E-DD8E-E726-3E40B5C52F6B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Rechthoek: afgeronde hoeken 27">
                <a:extLst>
                  <a:ext uri="{FF2B5EF4-FFF2-40B4-BE49-F238E27FC236}">
                    <a16:creationId xmlns:a16="http://schemas.microsoft.com/office/drawing/2014/main" id="{CC1AF187-258A-EE40-14EC-A8D928A0ADB3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51" name="Tekstvak 91">
              <a:extLst>
                <a:ext uri="{FF2B5EF4-FFF2-40B4-BE49-F238E27FC236}">
                  <a16:creationId xmlns:a16="http://schemas.microsoft.com/office/drawing/2014/main" id="{8806A521-D10E-B218-10C0-3B8E3E18CDAE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52" name="Groep 92">
              <a:extLst>
                <a:ext uri="{FF2B5EF4-FFF2-40B4-BE49-F238E27FC236}">
                  <a16:creationId xmlns:a16="http://schemas.microsoft.com/office/drawing/2014/main" id="{6B78A0D9-A977-E95E-5AC3-7A264C30B9EE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56" name="Rechthoek: afgeronde hoeken 96">
                <a:extLst>
                  <a:ext uri="{FF2B5EF4-FFF2-40B4-BE49-F238E27FC236}">
                    <a16:creationId xmlns:a16="http://schemas.microsoft.com/office/drawing/2014/main" id="{F74C87F4-9409-25FB-63B6-B9A609DBFBCF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Rechthoek: afgeronde hoeken 27">
                <a:extLst>
                  <a:ext uri="{FF2B5EF4-FFF2-40B4-BE49-F238E27FC236}">
                    <a16:creationId xmlns:a16="http://schemas.microsoft.com/office/drawing/2014/main" id="{02283696-66F0-08DE-EB43-886EE6E6709A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53" name="Groep 93">
              <a:extLst>
                <a:ext uri="{FF2B5EF4-FFF2-40B4-BE49-F238E27FC236}">
                  <a16:creationId xmlns:a16="http://schemas.microsoft.com/office/drawing/2014/main" id="{50CBBD96-2463-A02D-C1E8-2E2E5AA2C192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54" name="Rechthoek: afgeronde hoeken 94">
                <a:extLst>
                  <a:ext uri="{FF2B5EF4-FFF2-40B4-BE49-F238E27FC236}">
                    <a16:creationId xmlns:a16="http://schemas.microsoft.com/office/drawing/2014/main" id="{251DFF09-673F-5D68-F351-4EE1D6253021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echthoek: afgeronde hoeken 27">
                <a:extLst>
                  <a:ext uri="{FF2B5EF4-FFF2-40B4-BE49-F238E27FC236}">
                    <a16:creationId xmlns:a16="http://schemas.microsoft.com/office/drawing/2014/main" id="{466CFCBF-F953-446C-7BE8-CECFB0F5C1B7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60" name="Groep 101">
            <a:extLst>
              <a:ext uri="{FF2B5EF4-FFF2-40B4-BE49-F238E27FC236}">
                <a16:creationId xmlns:a16="http://schemas.microsoft.com/office/drawing/2014/main" id="{706065F1-AC7D-1075-71E4-5C13394F8F50}"/>
              </a:ext>
            </a:extLst>
          </p:cNvPr>
          <p:cNvGrpSpPr/>
          <p:nvPr/>
        </p:nvGrpSpPr>
        <p:grpSpPr>
          <a:xfrm>
            <a:off x="9382120" y="4647205"/>
            <a:ext cx="2416182" cy="890920"/>
            <a:chOff x="1329092" y="1590911"/>
            <a:chExt cx="2416182" cy="890920"/>
          </a:xfrm>
        </p:grpSpPr>
        <p:grpSp>
          <p:nvGrpSpPr>
            <p:cNvPr id="61" name="Groep 102">
              <a:extLst>
                <a:ext uri="{FF2B5EF4-FFF2-40B4-BE49-F238E27FC236}">
                  <a16:creationId xmlns:a16="http://schemas.microsoft.com/office/drawing/2014/main" id="{540C0C9F-4252-2BD6-1ED0-506504778829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01" name="Rechthoek: afgeronde hoeken 123">
                <a:extLst>
                  <a:ext uri="{FF2B5EF4-FFF2-40B4-BE49-F238E27FC236}">
                    <a16:creationId xmlns:a16="http://schemas.microsoft.com/office/drawing/2014/main" id="{A0736A24-573B-D1C0-E0D6-73A6FCF8516D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hoek: afgeronde hoeken 27">
                <a:extLst>
                  <a:ext uri="{FF2B5EF4-FFF2-40B4-BE49-F238E27FC236}">
                    <a16:creationId xmlns:a16="http://schemas.microsoft.com/office/drawing/2014/main" id="{649FEE28-94DD-1C2E-24BF-9C0256EE22C3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62" name="Tekstvak 111">
              <a:extLst>
                <a:ext uri="{FF2B5EF4-FFF2-40B4-BE49-F238E27FC236}">
                  <a16:creationId xmlns:a16="http://schemas.microsoft.com/office/drawing/2014/main" id="{727F95E2-EA20-6367-498B-793CC20AA079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63" name="Groep 113">
              <a:extLst>
                <a:ext uri="{FF2B5EF4-FFF2-40B4-BE49-F238E27FC236}">
                  <a16:creationId xmlns:a16="http://schemas.microsoft.com/office/drawing/2014/main" id="{F58824F7-AB69-1C1A-DC48-6784BBECB81B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71" name="Rechthoek: afgeronde hoeken 121">
                <a:extLst>
                  <a:ext uri="{FF2B5EF4-FFF2-40B4-BE49-F238E27FC236}">
                    <a16:creationId xmlns:a16="http://schemas.microsoft.com/office/drawing/2014/main" id="{DD60E161-4A35-5011-EBBD-80BFFECAD3BC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Rechthoek: afgeronde hoeken 27">
                <a:extLst>
                  <a:ext uri="{FF2B5EF4-FFF2-40B4-BE49-F238E27FC236}">
                    <a16:creationId xmlns:a16="http://schemas.microsoft.com/office/drawing/2014/main" id="{88885AC9-C9BE-204F-43F7-6D16B97DB757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65" name="Groep 114">
              <a:extLst>
                <a:ext uri="{FF2B5EF4-FFF2-40B4-BE49-F238E27FC236}">
                  <a16:creationId xmlns:a16="http://schemas.microsoft.com/office/drawing/2014/main" id="{202966D3-5F8C-E96F-B932-F3726334FF81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66" name="Rechthoek: afgeronde hoeken 115">
                <a:extLst>
                  <a:ext uri="{FF2B5EF4-FFF2-40B4-BE49-F238E27FC236}">
                    <a16:creationId xmlns:a16="http://schemas.microsoft.com/office/drawing/2014/main" id="{9761F087-96A4-CD22-22FA-789C64C3EF5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Rechthoek: afgeronde hoeken 27">
                <a:extLst>
                  <a:ext uri="{FF2B5EF4-FFF2-40B4-BE49-F238E27FC236}">
                    <a16:creationId xmlns:a16="http://schemas.microsoft.com/office/drawing/2014/main" id="{E88B8761-8DAF-EA6D-BF16-E448D1865A55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9924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64394-C9A3-629A-0C8F-403A4D4A2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9E9E26AD-7342-565F-6B3A-79CC997710FD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577A6ED7-262C-C011-7F42-4E9723E1BF3D}"/>
              </a:ext>
            </a:extLst>
          </p:cNvPr>
          <p:cNvSpPr/>
          <p:nvPr/>
        </p:nvSpPr>
        <p:spPr>
          <a:xfrm>
            <a:off x="1329092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Samenwerking in dynamische netwerken voor gezondheid, klimaat en </a:t>
            </a:r>
            <a:r>
              <a:rPr lang="nl-NL" sz="1200" b="1">
                <a:solidFill>
                  <a:srgbClr val="FFFFFF"/>
                </a:solidFill>
                <a:latin typeface="Aptos"/>
              </a:rPr>
              <a:t>weerbaarheid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1" name="Pijl: vijfhoek 10">
            <a:extLst>
              <a:ext uri="{FF2B5EF4-FFF2-40B4-BE49-F238E27FC236}">
                <a16:creationId xmlns:a16="http://schemas.microsoft.com/office/drawing/2014/main" id="{B7C36EE8-5FDF-39AE-46D6-45CA270531D2}"/>
              </a:ext>
            </a:extLst>
          </p:cNvPr>
          <p:cNvSpPr/>
          <p:nvPr/>
        </p:nvSpPr>
        <p:spPr>
          <a:xfrm>
            <a:off x="84815" y="5677236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83EEFDDA-3159-831A-1803-99361F5EE11D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494264B2-9BD5-F1C8-C143-60D5CCF9B3D9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96F51DC9-2F23-B4E5-64EE-FA8F12309F97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BETA 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4FE5C570-E923-5CA8-C0E0-167F16589B9B}"/>
              </a:ext>
            </a:extLst>
          </p:cNvPr>
          <p:cNvSpPr/>
          <p:nvPr/>
        </p:nvSpPr>
        <p:spPr>
          <a:xfrm>
            <a:off x="1939905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Onderzoek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80CA0221-4B31-94B7-006B-CBA81A475105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 err="1">
                <a:solidFill>
                  <a:schemeClr val="tx1"/>
                </a:solidFill>
              </a:rPr>
              <a:t>Pfh</a:t>
            </a:r>
            <a:r>
              <a:rPr lang="nl-NL" sz="1400" b="1">
                <a:solidFill>
                  <a:schemeClr val="tx1"/>
                </a:solidFill>
              </a:rPr>
              <a:t> Onderzoek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7BD57EC4-842E-C8C1-E819-4C279EE60AAC}"/>
              </a:ext>
            </a:extLst>
          </p:cNvPr>
          <p:cNvSpPr/>
          <p:nvPr/>
        </p:nvSpPr>
        <p:spPr>
          <a:xfrm>
            <a:off x="5667207" y="94006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2027-2030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9A3E0B6F-A3DB-6C17-F821-72E587B31283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115177C2-6AB4-1FC6-58F6-9D019A31C3BA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628DE8EC-B81F-7BC3-17AF-9105A5FA00E8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D226C5BD-68D5-3A56-94B7-694C0825615B}"/>
              </a:ext>
            </a:extLst>
          </p:cNvPr>
          <p:cNvSpPr/>
          <p:nvPr/>
        </p:nvSpPr>
        <p:spPr>
          <a:xfrm>
            <a:off x="4027396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Stimuleren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van Open 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S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cience en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Wetenschappelijke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Integriteit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(WI)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9E577D3A-19C8-E60C-97EE-B54A7E359944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8921742E-DB2B-DFE6-ADE9-511B7D2537F5}"/>
              </a:ext>
            </a:extLst>
          </p:cNvPr>
          <p:cNvSpPr/>
          <p:nvPr/>
        </p:nvSpPr>
        <p:spPr>
          <a:xfrm>
            <a:off x="6702525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Verbeteren van </a:t>
            </a:r>
            <a:r>
              <a:rPr lang="nl-NL" sz="1200" b="1" baseline="0" err="1">
                <a:solidFill>
                  <a:srgbClr val="FFFFFF"/>
                </a:solidFill>
                <a:latin typeface="Aptos"/>
              </a:rPr>
              <a:t>onderzoeksondersteuning</a:t>
            </a:r>
            <a:r>
              <a:rPr lang="nl-NL" sz="1200" b="1" baseline="0">
                <a:solidFill>
                  <a:srgbClr val="FFFFFF"/>
                </a:solidFill>
                <a:latin typeface="Aptos"/>
              </a:rPr>
              <a:t>, m.n. werving 2</a:t>
            </a:r>
            <a:r>
              <a:rPr lang="nl-NL" sz="1200" b="1" baseline="30000">
                <a:solidFill>
                  <a:srgbClr val="FFFFFF"/>
                </a:solidFill>
                <a:latin typeface="Aptos"/>
              </a:rPr>
              <a:t>e</a:t>
            </a:r>
            <a:r>
              <a:rPr lang="nl-NL" sz="1200" b="1">
                <a:solidFill>
                  <a:srgbClr val="FFFFFF"/>
                </a:solidFill>
                <a:latin typeface="Aptos"/>
              </a:rPr>
              <a:t>/3</a:t>
            </a:r>
            <a:r>
              <a:rPr lang="nl-NL" sz="1200" b="1" baseline="30000">
                <a:solidFill>
                  <a:srgbClr val="FFFFFF"/>
                </a:solidFill>
                <a:latin typeface="Aptos"/>
              </a:rPr>
              <a:t>e</a:t>
            </a:r>
            <a:r>
              <a:rPr lang="nl-NL" sz="1200" b="1">
                <a:solidFill>
                  <a:srgbClr val="FFFFFF"/>
                </a:solidFill>
                <a:latin typeface="Aptos"/>
              </a:rPr>
              <a:t> GS</a:t>
            </a:r>
            <a:r>
              <a:rPr lang="nl-NL" sz="1200" b="1" baseline="0">
                <a:solidFill>
                  <a:srgbClr val="FFFFFF"/>
                </a:solidFill>
                <a:latin typeface="Aptos"/>
              </a:rPr>
              <a:t>​​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04E8735A-630F-A381-B3DF-A65BB3DCE41C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46DB97E1-0409-5821-BC69-58251A9F9303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Ruimte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voor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 panose="02110004020202020204"/>
              </a:rPr>
              <a:t>onderzoek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met</a:t>
            </a:r>
            <a:r>
              <a:rPr lang="en-US" sz="1200" b="1">
                <a:solidFill>
                  <a:srgbClr val="FFFFFF"/>
                </a:solidFill>
                <a:latin typeface="Aptos" panose="02110004020202020204"/>
              </a:rPr>
              <a:t> 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 panose="02110004020202020204"/>
              </a:rPr>
              <a:t>lange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termijn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 panose="02110004020202020204"/>
              </a:rPr>
              <a:t>en</a:t>
            </a:r>
            <a:r>
              <a:rPr lang="en-US" sz="1200" b="1">
                <a:solidFill>
                  <a:srgbClr val="FFFFFF"/>
                </a:solidFill>
                <a:latin typeface="Aptos" panose="02110004020202020204"/>
              </a:rPr>
              <a:t> </a:t>
            </a:r>
            <a:r>
              <a:rPr lang="en-US" sz="1200" b="1" err="1">
                <a:solidFill>
                  <a:srgbClr val="FFFFFF"/>
                </a:solidFill>
                <a:latin typeface="Aptos" panose="02110004020202020204"/>
              </a:rPr>
              <a:t>onverwachte</a:t>
            </a:r>
            <a:r>
              <a:rPr lang="en-US" sz="1200" b="1">
                <a:solidFill>
                  <a:srgbClr val="FFFFFF"/>
                </a:solidFill>
                <a:latin typeface="Aptos" panose="02110004020202020204"/>
              </a:rPr>
              <a:t> impact</a:t>
            </a:r>
            <a:endParaRPr lang="nl-NL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F9FD01C1-0644-008E-B03E-CC8CA7E60547}"/>
              </a:ext>
            </a:extLst>
          </p:cNvPr>
          <p:cNvGrpSpPr/>
          <p:nvPr/>
        </p:nvGrpSpPr>
        <p:grpSpPr>
          <a:xfrm>
            <a:off x="1276513" y="5624655"/>
            <a:ext cx="2416182" cy="890920"/>
            <a:chOff x="1329092" y="1590911"/>
            <a:chExt cx="2416182" cy="890920"/>
          </a:xfrm>
        </p:grpSpPr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D6B80699-0962-7573-CBC1-A00990E4FC55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" name="Rechthoek: afgeronde hoeken 8">
                <a:extLst>
                  <a:ext uri="{FF2B5EF4-FFF2-40B4-BE49-F238E27FC236}">
                    <a16:creationId xmlns:a16="http://schemas.microsoft.com/office/drawing/2014/main" id="{80894D85-D8FC-EB08-CE09-C8940A73D46C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​Bèta onderzoekers in de spotlight via diverse (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social</a:t>
                </a:r>
                <a:r>
                  <a:rPr lang="nl-NL" sz="800" i="1">
                    <a:solidFill>
                      <a:schemeClr val="tx1"/>
                    </a:solidFill>
                  </a:rPr>
                  <a:t>) media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hthoek: afgeronde hoeken 27">
                <a:extLst>
                  <a:ext uri="{FF2B5EF4-FFF2-40B4-BE49-F238E27FC236}">
                    <a16:creationId xmlns:a16="http://schemas.microsoft.com/office/drawing/2014/main" id="{779F796F-A7A6-DF22-8010-B5497558A004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endParaRPr lang="nl-NL" sz="800" b="1" i="1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67" name="Tekstvak 66">
              <a:extLst>
                <a:ext uri="{FF2B5EF4-FFF2-40B4-BE49-F238E27FC236}">
                  <a16:creationId xmlns:a16="http://schemas.microsoft.com/office/drawing/2014/main" id="{00A4C8C0-4F25-DD54-91EC-DDBAC23F73F3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id="{C0465F38-8091-DD92-274F-97066B51A0D5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68" name="Rechthoek: afgeronde hoeken 67">
                <a:extLst>
                  <a:ext uri="{FF2B5EF4-FFF2-40B4-BE49-F238E27FC236}">
                    <a16:creationId xmlns:a16="http://schemas.microsoft.com/office/drawing/2014/main" id="{816BB331-D454-7E7D-870E-469A0325DAE5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en-US" sz="800" i="1">
                    <a:solidFill>
                      <a:schemeClr val="tx1"/>
                    </a:solidFill>
                  </a:rPr>
                  <a:t>B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èta</a:t>
                </a:r>
                <a:r>
                  <a:rPr lang="nl-NL" sz="800" i="1">
                    <a:solidFill>
                      <a:schemeClr val="tx1"/>
                    </a:solidFill>
                  </a:rPr>
                  <a:t> onderzoekers vaker als deskundigen in de media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hthoek: afgeronde hoeken 27">
                <a:extLst>
                  <a:ext uri="{FF2B5EF4-FFF2-40B4-BE49-F238E27FC236}">
                    <a16:creationId xmlns:a16="http://schemas.microsoft.com/office/drawing/2014/main" id="{0D8746E6-3AC9-CB87-C164-AA50174D88AD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75" name="Groep 74">
              <a:extLst>
                <a:ext uri="{FF2B5EF4-FFF2-40B4-BE49-F238E27FC236}">
                  <a16:creationId xmlns:a16="http://schemas.microsoft.com/office/drawing/2014/main" id="{9B803A7A-C8E1-F822-1707-50B7EE74B6D2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76" name="Rechthoek: afgeronde hoeken 75">
                <a:extLst>
                  <a:ext uri="{FF2B5EF4-FFF2-40B4-BE49-F238E27FC236}">
                    <a16:creationId xmlns:a16="http://schemas.microsoft.com/office/drawing/2014/main" id="{2B9D8BD8-1C6E-B1E0-3DF0-3AB52118EE13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27">
                <a:extLst>
                  <a:ext uri="{FF2B5EF4-FFF2-40B4-BE49-F238E27FC236}">
                    <a16:creationId xmlns:a16="http://schemas.microsoft.com/office/drawing/2014/main" id="{CB413E24-DAD4-A421-864A-801CFDF3325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8F49A28D-20DA-BE5C-3863-46A3DFE391C7}"/>
              </a:ext>
            </a:extLst>
          </p:cNvPr>
          <p:cNvGrpSpPr/>
          <p:nvPr/>
        </p:nvGrpSpPr>
        <p:grpSpPr>
          <a:xfrm>
            <a:off x="3999351" y="5624655"/>
            <a:ext cx="2416182" cy="890920"/>
            <a:chOff x="1329092" y="1590911"/>
            <a:chExt cx="2416182" cy="890920"/>
          </a:xfrm>
        </p:grpSpPr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55743D65-941F-4EA2-0078-77C3D91AE218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88" name="Rechthoek: afgeronde hoeken 87">
                <a:extLst>
                  <a:ext uri="{FF2B5EF4-FFF2-40B4-BE49-F238E27FC236}">
                    <a16:creationId xmlns:a16="http://schemas.microsoft.com/office/drawing/2014/main" id="{02136C92-DE05-DC30-542D-EA87445FC130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en-US" sz="800" i="1">
                    <a:solidFill>
                      <a:schemeClr val="tx1"/>
                    </a:solidFill>
                  </a:rPr>
                  <a:t>I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nfrastructuur</a:t>
                </a:r>
                <a:r>
                  <a:rPr lang="nl-NL" sz="800" i="1">
                    <a:solidFill>
                      <a:schemeClr val="tx1"/>
                    </a:solidFill>
                  </a:rPr>
                  <a:t> big data en (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social</a:t>
                </a:r>
                <a:r>
                  <a:rPr lang="nl-NL" sz="800" i="1">
                    <a:solidFill>
                      <a:schemeClr val="tx1"/>
                    </a:solidFill>
                  </a:rPr>
                  <a:t>) AI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hoek: afgeronde hoeken 27">
                <a:extLst>
                  <a:ext uri="{FF2B5EF4-FFF2-40B4-BE49-F238E27FC236}">
                    <a16:creationId xmlns:a16="http://schemas.microsoft.com/office/drawing/2014/main" id="{37E12D97-A605-B961-3A12-05C665E3F0C1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2B046E78-F5BE-78DC-0833-0FBCD54F0949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82" name="Groep 81">
              <a:extLst>
                <a:ext uri="{FF2B5EF4-FFF2-40B4-BE49-F238E27FC236}">
                  <a16:creationId xmlns:a16="http://schemas.microsoft.com/office/drawing/2014/main" id="{9A42B132-8A63-CD98-33A0-F1DFCB7CFE0E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86" name="Rechthoek: afgeronde hoeken 85">
                <a:extLst>
                  <a:ext uri="{FF2B5EF4-FFF2-40B4-BE49-F238E27FC236}">
                    <a16:creationId xmlns:a16="http://schemas.microsoft.com/office/drawing/2014/main" id="{5EEBB00C-3E9F-E25A-73B8-C2A57826A9CB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en-US" sz="800" i="1">
                    <a:solidFill>
                      <a:schemeClr val="tx1"/>
                    </a:solidFill>
                  </a:rPr>
                  <a:t>R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ichtlijn</a:t>
                </a:r>
                <a:r>
                  <a:rPr lang="nl-NL" sz="800" i="1">
                    <a:solidFill>
                      <a:schemeClr val="tx1"/>
                    </a:solidFill>
                  </a:rPr>
                  <a:t> 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data-opslag</a:t>
                </a:r>
                <a:r>
                  <a:rPr lang="nl-NL" sz="800" i="1">
                    <a:solidFill>
                      <a:schemeClr val="tx1"/>
                    </a:solidFill>
                  </a:rPr>
                  <a:t> 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irt</a:t>
                </a:r>
                <a:r>
                  <a:rPr lang="nl-NL" sz="800" i="1">
                    <a:solidFill>
                      <a:schemeClr val="tx1"/>
                    </a:solidFill>
                  </a:rPr>
                  <a:t> duurzaamheid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hoek: afgeronde hoeken 27">
                <a:extLst>
                  <a:ext uri="{FF2B5EF4-FFF2-40B4-BE49-F238E27FC236}">
                    <a16:creationId xmlns:a16="http://schemas.microsoft.com/office/drawing/2014/main" id="{3B3CF8E5-DFB1-9A23-9D3F-0256514CCCEC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83" name="Groep 82">
              <a:extLst>
                <a:ext uri="{FF2B5EF4-FFF2-40B4-BE49-F238E27FC236}">
                  <a16:creationId xmlns:a16="http://schemas.microsoft.com/office/drawing/2014/main" id="{0FAA635B-F1EE-DDD7-45F4-86269174B2FD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84" name="Rechthoek: afgeronde hoeken 83">
                <a:extLst>
                  <a:ext uri="{FF2B5EF4-FFF2-40B4-BE49-F238E27FC236}">
                    <a16:creationId xmlns:a16="http://schemas.microsoft.com/office/drawing/2014/main" id="{BA8D71A0-9647-09F3-84C1-9432EE582C5A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en-US" sz="800" i="1">
                    <a:solidFill>
                      <a:schemeClr val="tx1"/>
                    </a:solidFill>
                  </a:rPr>
                  <a:t>W</a:t>
                </a:r>
                <a:r>
                  <a:rPr lang="nl-NL" sz="800" i="1">
                    <a:solidFill>
                      <a:schemeClr val="tx1"/>
                    </a:solidFill>
                  </a:rPr>
                  <a:t>I onderdeel van academische kern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hoek: afgeronde hoeken 27">
                <a:extLst>
                  <a:ext uri="{FF2B5EF4-FFF2-40B4-BE49-F238E27FC236}">
                    <a16:creationId xmlns:a16="http://schemas.microsoft.com/office/drawing/2014/main" id="{3007A621-3398-F09C-94C7-09D0E07FB2A3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90" name="Groep 89">
            <a:extLst>
              <a:ext uri="{FF2B5EF4-FFF2-40B4-BE49-F238E27FC236}">
                <a16:creationId xmlns:a16="http://schemas.microsoft.com/office/drawing/2014/main" id="{32415843-48D5-DA55-9F30-9FE5CF07B88F}"/>
              </a:ext>
            </a:extLst>
          </p:cNvPr>
          <p:cNvGrpSpPr/>
          <p:nvPr/>
        </p:nvGrpSpPr>
        <p:grpSpPr>
          <a:xfrm>
            <a:off x="6652052" y="5624655"/>
            <a:ext cx="2416182" cy="890920"/>
            <a:chOff x="1329092" y="1590911"/>
            <a:chExt cx="2416182" cy="890920"/>
          </a:xfrm>
        </p:grpSpPr>
        <p:grpSp>
          <p:nvGrpSpPr>
            <p:cNvPr id="91" name="Groep 90">
              <a:extLst>
                <a:ext uri="{FF2B5EF4-FFF2-40B4-BE49-F238E27FC236}">
                  <a16:creationId xmlns:a16="http://schemas.microsoft.com/office/drawing/2014/main" id="{251C8A7C-5730-6CB2-B8FB-CA866ED07DCA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9" name="Rechthoek: afgeronde hoeken 98">
                <a:extLst>
                  <a:ext uri="{FF2B5EF4-FFF2-40B4-BE49-F238E27FC236}">
                    <a16:creationId xmlns:a16="http://schemas.microsoft.com/office/drawing/2014/main" id="{11800ADF-FC40-476D-375F-86DF79EDFD2A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Totaal budget 2e &amp; 3e geldstroom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hthoek: afgeronde hoeken 27">
                <a:extLst>
                  <a:ext uri="{FF2B5EF4-FFF2-40B4-BE49-F238E27FC236}">
                    <a16:creationId xmlns:a16="http://schemas.microsoft.com/office/drawing/2014/main" id="{C2E37EF4-7223-4AC5-B4E9-F23A3B41DE17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%]</a:t>
                </a:r>
              </a:p>
            </p:txBody>
          </p:sp>
        </p:grpSp>
        <p:sp>
          <p:nvSpPr>
            <p:cNvPr id="92" name="Tekstvak 91">
              <a:extLst>
                <a:ext uri="{FF2B5EF4-FFF2-40B4-BE49-F238E27FC236}">
                  <a16:creationId xmlns:a16="http://schemas.microsoft.com/office/drawing/2014/main" id="{5AB7F22A-1B4C-452D-050E-B99AFB479D17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E4967074-54BF-25AC-8A36-11438EE23729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97" name="Rechthoek: afgeronde hoeken 96">
                <a:extLst>
                  <a:ext uri="{FF2B5EF4-FFF2-40B4-BE49-F238E27FC236}">
                    <a16:creationId xmlns:a16="http://schemas.microsoft.com/office/drawing/2014/main" id="{4F3B89A7-F4F3-474A-20A7-A565C42DA31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Business </a:t>
                </a:r>
                <a:r>
                  <a:rPr lang="nl-NL" sz="800" i="1" err="1">
                    <a:solidFill>
                      <a:schemeClr val="tx1"/>
                    </a:solidFill>
                  </a:rPr>
                  <a:t>developer</a:t>
                </a:r>
                <a:r>
                  <a:rPr lang="nl-NL" sz="800" i="1">
                    <a:solidFill>
                      <a:schemeClr val="tx1"/>
                    </a:solidFill>
                  </a:rPr>
                  <a:t> en projectmanager per afdelin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hthoek: afgeronde hoeken 27">
                <a:extLst>
                  <a:ext uri="{FF2B5EF4-FFF2-40B4-BE49-F238E27FC236}">
                    <a16:creationId xmlns:a16="http://schemas.microsoft.com/office/drawing/2014/main" id="{F7596C67-C94A-66E8-44DA-359E984CEE99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824DDC45-89A4-CDC5-6920-1A8E37ED11FE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95" name="Rechthoek: afgeronde hoeken 94">
                <a:extLst>
                  <a:ext uri="{FF2B5EF4-FFF2-40B4-BE49-F238E27FC236}">
                    <a16:creationId xmlns:a16="http://schemas.microsoft.com/office/drawing/2014/main" id="{E41D3F72-CA0A-8239-F619-50EE03C1BD68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en-US" sz="800" i="1">
                    <a:solidFill>
                      <a:schemeClr val="tx1"/>
                    </a:solidFill>
                  </a:rPr>
                  <a:t>Funding </a:t>
                </a:r>
                <a:r>
                  <a:rPr lang="en-US" sz="800" i="1" err="1">
                    <a:solidFill>
                      <a:schemeClr val="tx1"/>
                    </a:solidFill>
                  </a:rPr>
                  <a:t>strategie</a:t>
                </a:r>
                <a:r>
                  <a:rPr lang="en-US" sz="800" i="1">
                    <a:solidFill>
                      <a:schemeClr val="tx1"/>
                    </a:solidFill>
                  </a:rPr>
                  <a:t> per </a:t>
                </a:r>
                <a:r>
                  <a:rPr lang="en-US" sz="800" i="1" err="1">
                    <a:solidFill>
                      <a:schemeClr val="tx1"/>
                    </a:solidFill>
                  </a:rPr>
                  <a:t>afdelin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hthoek: afgeronde hoeken 27">
                <a:extLst>
                  <a:ext uri="{FF2B5EF4-FFF2-40B4-BE49-F238E27FC236}">
                    <a16:creationId xmlns:a16="http://schemas.microsoft.com/office/drawing/2014/main" id="{14A3E8BB-9BAD-8819-D106-96BB81132065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id="{A52EDFE9-1224-C859-9172-A00EB5BF22B7}"/>
              </a:ext>
            </a:extLst>
          </p:cNvPr>
          <p:cNvGrpSpPr/>
          <p:nvPr/>
        </p:nvGrpSpPr>
        <p:grpSpPr>
          <a:xfrm>
            <a:off x="9329541" y="5624655"/>
            <a:ext cx="2416182" cy="890920"/>
            <a:chOff x="1329092" y="1590911"/>
            <a:chExt cx="2416182" cy="890920"/>
          </a:xfrm>
        </p:grpSpPr>
        <p:grpSp>
          <p:nvGrpSpPr>
            <p:cNvPr id="103" name="Groep 102">
              <a:extLst>
                <a:ext uri="{FF2B5EF4-FFF2-40B4-BE49-F238E27FC236}">
                  <a16:creationId xmlns:a16="http://schemas.microsoft.com/office/drawing/2014/main" id="{DF6C8D03-34A8-9888-7570-DCF10710B5B9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24" name="Rechthoek: afgeronde hoeken 123">
                <a:extLst>
                  <a:ext uri="{FF2B5EF4-FFF2-40B4-BE49-F238E27FC236}">
                    <a16:creationId xmlns:a16="http://schemas.microsoft.com/office/drawing/2014/main" id="{59BAA962-5FF2-C2A4-AD5E-7BE23583193B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hthoek: afgeronde hoeken 27">
                <a:extLst>
                  <a:ext uri="{FF2B5EF4-FFF2-40B4-BE49-F238E27FC236}">
                    <a16:creationId xmlns:a16="http://schemas.microsoft.com/office/drawing/2014/main" id="{71CADB93-5EA0-CABA-42D2-E5665211DB1A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112" name="Tekstvak 111">
              <a:extLst>
                <a:ext uri="{FF2B5EF4-FFF2-40B4-BE49-F238E27FC236}">
                  <a16:creationId xmlns:a16="http://schemas.microsoft.com/office/drawing/2014/main" id="{F47106C5-C078-1C35-D4D9-34236228C7F1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76B69856-E977-5229-548C-EF1E19D288AB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122" name="Rechthoek: afgeronde hoeken 121">
                <a:extLst>
                  <a:ext uri="{FF2B5EF4-FFF2-40B4-BE49-F238E27FC236}">
                    <a16:creationId xmlns:a16="http://schemas.microsoft.com/office/drawing/2014/main" id="{5925B33A-129B-27E9-F80F-135FAB86D800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hthoek: afgeronde hoeken 27">
                <a:extLst>
                  <a:ext uri="{FF2B5EF4-FFF2-40B4-BE49-F238E27FC236}">
                    <a16:creationId xmlns:a16="http://schemas.microsoft.com/office/drawing/2014/main" id="{BEDB550F-811A-C714-2900-E380B4567B8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C49645FA-9A85-2DF2-CCBD-880B29D19B2D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116" name="Rechthoek: afgeronde hoeken 115">
                <a:extLst>
                  <a:ext uri="{FF2B5EF4-FFF2-40B4-BE49-F238E27FC236}">
                    <a16:creationId xmlns:a16="http://schemas.microsoft.com/office/drawing/2014/main" id="{0D6D3A96-7640-812A-67ED-E2B0F9C2C055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27">
                <a:extLst>
                  <a:ext uri="{FF2B5EF4-FFF2-40B4-BE49-F238E27FC236}">
                    <a16:creationId xmlns:a16="http://schemas.microsoft.com/office/drawing/2014/main" id="{8ECD0FA0-C743-BC49-F9FF-AD1FB405EF2D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65A28EE8-1A02-D97F-D079-1F6743BE4E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19F0FB13-0884-EA8E-DFEE-19B83861DC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A6913EC8-6A60-D562-4FC5-C391B67FC6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FEB0952B-FE84-4606-CA45-16FAD67C13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9FB0F85D-D0A1-6AC3-38A3-633286EA69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grpSp>
        <p:nvGrpSpPr>
          <p:cNvPr id="185" name="Groep 184">
            <a:extLst>
              <a:ext uri="{FF2B5EF4-FFF2-40B4-BE49-F238E27FC236}">
                <a16:creationId xmlns:a16="http://schemas.microsoft.com/office/drawing/2014/main" id="{5B9C82EE-C216-6991-EBE9-1C1A74E6D2CA}"/>
              </a:ext>
            </a:extLst>
          </p:cNvPr>
          <p:cNvGrpSpPr/>
          <p:nvPr/>
        </p:nvGrpSpPr>
        <p:grpSpPr>
          <a:xfrm>
            <a:off x="6673409" y="4218168"/>
            <a:ext cx="2547581" cy="1254355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55FE9A81-88AF-E72A-114B-299E80F28594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12120D61-2F93-4829-400B-98332FE818A2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Investeren en ondersteuning verbeteren voor publieke- private samenwerking bij 3e GS projecten met aandacht voor stakeholder engagement en WI</a:t>
                </a: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150C1603-181A-D10E-66FC-96186D0A77BE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535753B2-7FA6-AB27-60D0-BDA62DF78D6C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C57D13A1-8CF2-A79A-30DB-FC92E8D6E04A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C90F258D-0E31-364F-DA66-26F8C62CFDB5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E839A269-2A51-64DD-94F9-B4C80311799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C7ADD01E-C45D-55FE-E38E-D03604316094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OZ met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IXA-GO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8FA6592A-DC95-0DD6-552F-93680203C61C}"/>
              </a:ext>
            </a:extLst>
          </p:cNvPr>
          <p:cNvGrpSpPr/>
          <p:nvPr/>
        </p:nvGrpSpPr>
        <p:grpSpPr>
          <a:xfrm>
            <a:off x="6676647" y="2974980"/>
            <a:ext cx="2368072" cy="1042039"/>
            <a:chOff x="1358223" y="3001022"/>
            <a:chExt cx="2368072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A9C4E6C7-7EA7-8489-3AF6-9D4A878BAE8C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36B97D35-C2CB-52E6-4777-196C9C1B2DF3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Ondersteuning onderzoeksprojecten inrichten per afdeling, incl. grote programma’s en begeleiding junior staf​</a:t>
                </a: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F62C986D-F20B-70F6-38DF-C6DF8A59A11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037F97B3-715A-C82C-CA0F-5C34A26F8A86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A2C3DBF4-1449-D6EA-ED3A-205393A1C04D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ED0FC086-283B-2727-0B05-C981DCBF5766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8CF8CC4C-7D77-CF5D-E672-5E8E300503DC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F4ACD609-15CD-1069-BBE0-86D84E05D6B9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</a:t>
              </a: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ECD28F00-B48F-2620-80E1-4AEE7E7C4C07}"/>
              </a:ext>
            </a:extLst>
          </p:cNvPr>
          <p:cNvGrpSpPr/>
          <p:nvPr/>
        </p:nvGrpSpPr>
        <p:grpSpPr>
          <a:xfrm>
            <a:off x="9312415" y="2988083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E9F7BAE8-57E8-63A6-05B2-8A7595FBB7C3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B23A8492-4572-EE7F-B0DF-9FE8914E03E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Investeren in ongebonden onderzoek met lange termijn of onverwachte impact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0E79A5C6-B5E5-A746-DAB2-22B06D687751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E51DA7DA-5B43-5A33-DF46-31FFE81C2939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9028A82D-3273-23C7-B8CE-0DBABFFD056B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72986046-8C5A-EB30-0039-052387B11839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58E775F3-5ADD-0C9E-2952-D618D4FE0B1B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2BD8E53A-AC93-8129-3535-F33F3FC5035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OZ met afdelingen</a:t>
              </a:r>
            </a:p>
          </p:txBody>
        </p:sp>
      </p:grpSp>
      <p:pic>
        <p:nvPicPr>
          <p:cNvPr id="2" name="Graphic 1" descr="Microscoop met effen opvulling">
            <a:extLst>
              <a:ext uri="{FF2B5EF4-FFF2-40B4-BE49-F238E27FC236}">
                <a16:creationId xmlns:a16="http://schemas.microsoft.com/office/drawing/2014/main" id="{FF21AEE1-B0C9-E349-132F-A868824B93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51859" y="873958"/>
            <a:ext cx="144000" cy="144000"/>
          </a:xfrm>
          <a:prstGeom prst="rect">
            <a:avLst/>
          </a:prstGeom>
        </p:spPr>
      </p:pic>
      <p:pic>
        <p:nvPicPr>
          <p:cNvPr id="3" name="Graphic 2" descr="Microscoop met effen opvulling">
            <a:extLst>
              <a:ext uri="{FF2B5EF4-FFF2-40B4-BE49-F238E27FC236}">
                <a16:creationId xmlns:a16="http://schemas.microsoft.com/office/drawing/2014/main" id="{42BCDF0F-8822-6513-8506-5873868160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02525" y="873958"/>
            <a:ext cx="144000" cy="144000"/>
          </a:xfrm>
          <a:prstGeom prst="rect">
            <a:avLst/>
          </a:prstGeom>
        </p:spPr>
      </p:pic>
      <p:pic>
        <p:nvPicPr>
          <p:cNvPr id="4" name="Graphic 3" descr="Microscoop met effen opvulling">
            <a:extLst>
              <a:ext uri="{FF2B5EF4-FFF2-40B4-BE49-F238E27FC236}">
                <a16:creationId xmlns:a16="http://schemas.microsoft.com/office/drawing/2014/main" id="{13BF9219-25E6-FF68-DBF7-BD83378500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77654" y="873958"/>
            <a:ext cx="144000" cy="144000"/>
          </a:xfrm>
          <a:prstGeom prst="rect">
            <a:avLst/>
          </a:prstGeom>
        </p:spPr>
      </p:pic>
      <p:grpSp>
        <p:nvGrpSpPr>
          <p:cNvPr id="33" name="Groep 193">
            <a:extLst>
              <a:ext uri="{FF2B5EF4-FFF2-40B4-BE49-F238E27FC236}">
                <a16:creationId xmlns:a16="http://schemas.microsoft.com/office/drawing/2014/main" id="{2F51A115-1EC3-B5E2-89FC-074CB909C878}"/>
              </a:ext>
            </a:extLst>
          </p:cNvPr>
          <p:cNvGrpSpPr/>
          <p:nvPr/>
        </p:nvGrpSpPr>
        <p:grpSpPr>
          <a:xfrm>
            <a:off x="6676650" y="1837871"/>
            <a:ext cx="2368072" cy="1042039"/>
            <a:chOff x="1358223" y="3001022"/>
            <a:chExt cx="2368072" cy="1042039"/>
          </a:xfrm>
        </p:grpSpPr>
        <p:grpSp>
          <p:nvGrpSpPr>
            <p:cNvPr id="34" name="Groep 194">
              <a:extLst>
                <a:ext uri="{FF2B5EF4-FFF2-40B4-BE49-F238E27FC236}">
                  <a16:creationId xmlns:a16="http://schemas.microsoft.com/office/drawing/2014/main" id="{728AC2EE-22C8-294A-ED52-9AFC533AF4D9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37" name="Rechthoek: afgeronde hoeken 196">
                <a:extLst>
                  <a:ext uri="{FF2B5EF4-FFF2-40B4-BE49-F238E27FC236}">
                    <a16:creationId xmlns:a16="http://schemas.microsoft.com/office/drawing/2014/main" id="{39BF6AF1-8FCD-05A0-BF1B-029767E7C497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Vaststellen best </a:t>
                </a:r>
                <a:r>
                  <a:rPr lang="nl-NL" sz="1100" err="1">
                    <a:solidFill>
                      <a:schemeClr val="tx1"/>
                    </a:solidFill>
                    <a:latin typeface="Aptos" panose="02110004020202020204"/>
                  </a:rPr>
                  <a:t>practices</a:t>
                </a: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 2</a:t>
                </a:r>
                <a:r>
                  <a:rPr lang="nl-NL" sz="1100" baseline="30000">
                    <a:solidFill>
                      <a:schemeClr val="tx1"/>
                    </a:solidFill>
                    <a:latin typeface="Aptos" panose="02110004020202020204"/>
                  </a:rPr>
                  <a:t>e</a:t>
                </a: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 en 3e GS projecten en implementeren in afdelingen​</a:t>
                </a:r>
              </a:p>
            </p:txBody>
          </p:sp>
          <p:grpSp>
            <p:nvGrpSpPr>
              <p:cNvPr id="38" name="Groep 197">
                <a:extLst>
                  <a:ext uri="{FF2B5EF4-FFF2-40B4-BE49-F238E27FC236}">
                    <a16:creationId xmlns:a16="http://schemas.microsoft.com/office/drawing/2014/main" id="{791343C9-9242-9A6A-C4B2-42410E7A19C1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39" name="Rechthoek: afgeronde hoeken 198">
                  <a:extLst>
                    <a:ext uri="{FF2B5EF4-FFF2-40B4-BE49-F238E27FC236}">
                      <a16:creationId xmlns:a16="http://schemas.microsoft.com/office/drawing/2014/main" id="{F1193719-94A6-5E82-D9AA-01B68411A213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al 199">
                  <a:extLst>
                    <a:ext uri="{FF2B5EF4-FFF2-40B4-BE49-F238E27FC236}">
                      <a16:creationId xmlns:a16="http://schemas.microsoft.com/office/drawing/2014/main" id="{E8124D8E-48D5-FEAF-D700-DCC46A7EF1E3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al 200">
                  <a:extLst>
                    <a:ext uri="{FF2B5EF4-FFF2-40B4-BE49-F238E27FC236}">
                      <a16:creationId xmlns:a16="http://schemas.microsoft.com/office/drawing/2014/main" id="{6A5C164B-A73A-5792-3EF3-842B53B5E995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al 201">
                  <a:extLst>
                    <a:ext uri="{FF2B5EF4-FFF2-40B4-BE49-F238E27FC236}">
                      <a16:creationId xmlns:a16="http://schemas.microsoft.com/office/drawing/2014/main" id="{1EA6E333-2B0E-AD17-27B8-2F84CAF64C3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6" name="Rechthoek: afgeronde hoeken 195">
              <a:extLst>
                <a:ext uri="{FF2B5EF4-FFF2-40B4-BE49-F238E27FC236}">
                  <a16:creationId xmlns:a16="http://schemas.microsoft.com/office/drawing/2014/main" id="{E8A0C036-788E-0519-FE06-DC6F98037249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OZ met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IXA-GO</a:t>
              </a:r>
            </a:p>
          </p:txBody>
        </p:sp>
      </p:grpSp>
      <p:sp>
        <p:nvSpPr>
          <p:cNvPr id="43" name="Pijl: vijfhoek 110">
            <a:extLst>
              <a:ext uri="{FF2B5EF4-FFF2-40B4-BE49-F238E27FC236}">
                <a16:creationId xmlns:a16="http://schemas.microsoft.com/office/drawing/2014/main" id="{C1922782-40E6-E531-1363-FBAF16F3CA9C}"/>
              </a:ext>
            </a:extLst>
          </p:cNvPr>
          <p:cNvSpPr/>
          <p:nvPr/>
        </p:nvSpPr>
        <p:spPr>
          <a:xfrm>
            <a:off x="137394" y="1867712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grpSp>
        <p:nvGrpSpPr>
          <p:cNvPr id="44" name="Groep 152">
            <a:extLst>
              <a:ext uri="{FF2B5EF4-FFF2-40B4-BE49-F238E27FC236}">
                <a16:creationId xmlns:a16="http://schemas.microsoft.com/office/drawing/2014/main" id="{D939EE05-A2AC-D9D4-BFF5-712B187FBF74}"/>
              </a:ext>
            </a:extLst>
          </p:cNvPr>
          <p:cNvGrpSpPr/>
          <p:nvPr/>
        </p:nvGrpSpPr>
        <p:grpSpPr>
          <a:xfrm>
            <a:off x="1350421" y="4253500"/>
            <a:ext cx="2368072" cy="1042039"/>
            <a:chOff x="1358223" y="3001022"/>
            <a:chExt cx="2368072" cy="1042039"/>
          </a:xfrm>
        </p:grpSpPr>
        <p:grpSp>
          <p:nvGrpSpPr>
            <p:cNvPr id="45" name="Groep 34">
              <a:extLst>
                <a:ext uri="{FF2B5EF4-FFF2-40B4-BE49-F238E27FC236}">
                  <a16:creationId xmlns:a16="http://schemas.microsoft.com/office/drawing/2014/main" id="{98F38F5E-013A-98B9-7D0B-FB43B8D593B6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47" name="Rechthoek: afgeronde hoeken 9">
                <a:extLst>
                  <a:ext uri="{FF2B5EF4-FFF2-40B4-BE49-F238E27FC236}">
                    <a16:creationId xmlns:a16="http://schemas.microsoft.com/office/drawing/2014/main" id="{32CB53FC-459F-3438-6B85-41B856CB48CD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Inhoudelijk concretiseren hoe Bèta bijdraagt aan de thema’s via diverse mediastrategie inclusief databank ANP</a:t>
                </a:r>
              </a:p>
            </p:txBody>
          </p:sp>
          <p:grpSp>
            <p:nvGrpSpPr>
              <p:cNvPr id="48" name="Groep 28">
                <a:extLst>
                  <a:ext uri="{FF2B5EF4-FFF2-40B4-BE49-F238E27FC236}">
                    <a16:creationId xmlns:a16="http://schemas.microsoft.com/office/drawing/2014/main" id="{E9D166FA-EB64-6645-A43A-905E5F078AA8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49" name="Rechthoek: afgeronde hoeken 27">
                  <a:extLst>
                    <a:ext uri="{FF2B5EF4-FFF2-40B4-BE49-F238E27FC236}">
                      <a16:creationId xmlns:a16="http://schemas.microsoft.com/office/drawing/2014/main" id="{6148250D-465C-0C33-8E9F-AAD4F3B78846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Ovaal 21">
                  <a:extLst>
                    <a:ext uri="{FF2B5EF4-FFF2-40B4-BE49-F238E27FC236}">
                      <a16:creationId xmlns:a16="http://schemas.microsoft.com/office/drawing/2014/main" id="{CAB76BA2-15F8-5994-F468-FA3633546BA2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Ovaal 22">
                  <a:extLst>
                    <a:ext uri="{FF2B5EF4-FFF2-40B4-BE49-F238E27FC236}">
                      <a16:creationId xmlns:a16="http://schemas.microsoft.com/office/drawing/2014/main" id="{54519D02-ABCF-95B9-A78E-AC7D2B9AE496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Ovaal 23">
                  <a:extLst>
                    <a:ext uri="{FF2B5EF4-FFF2-40B4-BE49-F238E27FC236}">
                      <a16:creationId xmlns:a16="http://schemas.microsoft.com/office/drawing/2014/main" id="{BEE05A16-B95D-6745-FFB1-B7953625A3F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6" name="Rechthoek: afgeronde hoeken 135">
              <a:extLst>
                <a:ext uri="{FF2B5EF4-FFF2-40B4-BE49-F238E27FC236}">
                  <a16:creationId xmlns:a16="http://schemas.microsoft.com/office/drawing/2014/main" id="{0EE32BCF-29BC-3281-FA43-3C8F71FD41E2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</a:t>
              </a:r>
            </a:p>
          </p:txBody>
        </p:sp>
      </p:grpSp>
      <p:grpSp>
        <p:nvGrpSpPr>
          <p:cNvPr id="53" name="Groep 153">
            <a:extLst>
              <a:ext uri="{FF2B5EF4-FFF2-40B4-BE49-F238E27FC236}">
                <a16:creationId xmlns:a16="http://schemas.microsoft.com/office/drawing/2014/main" id="{F07BA8D9-B7AE-BBAF-0DD0-238535E95963}"/>
              </a:ext>
            </a:extLst>
          </p:cNvPr>
          <p:cNvGrpSpPr/>
          <p:nvPr/>
        </p:nvGrpSpPr>
        <p:grpSpPr>
          <a:xfrm>
            <a:off x="1355753" y="3044571"/>
            <a:ext cx="2368072" cy="1042039"/>
            <a:chOff x="1358223" y="3001022"/>
            <a:chExt cx="2368072" cy="1042039"/>
          </a:xfrm>
        </p:grpSpPr>
        <p:grpSp>
          <p:nvGrpSpPr>
            <p:cNvPr id="54" name="Groep 154">
              <a:extLst>
                <a:ext uri="{FF2B5EF4-FFF2-40B4-BE49-F238E27FC236}">
                  <a16:creationId xmlns:a16="http://schemas.microsoft.com/office/drawing/2014/main" id="{FDB473FA-BE43-6CF1-5F8B-77D7CEDCF28F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56" name="Rechthoek: afgeronde hoeken 156">
                <a:extLst>
                  <a:ext uri="{FF2B5EF4-FFF2-40B4-BE49-F238E27FC236}">
                    <a16:creationId xmlns:a16="http://schemas.microsoft.com/office/drawing/2014/main" id="{333B16D4-E197-08CD-E165-6D2EE50EDA1A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Onderwerpen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identificeren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die op het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snijvlak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van de thema’s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liggen</a:t>
                </a:r>
                <a:endParaRPr lang="nl-NL" sz="11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57" name="Groep 157">
                <a:extLst>
                  <a:ext uri="{FF2B5EF4-FFF2-40B4-BE49-F238E27FC236}">
                    <a16:creationId xmlns:a16="http://schemas.microsoft.com/office/drawing/2014/main" id="{A3F6BA1F-E2EE-03C5-97C6-AEBCE2D2C7B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58" name="Rechthoek: afgeronde hoeken 158">
                  <a:extLst>
                    <a:ext uri="{FF2B5EF4-FFF2-40B4-BE49-F238E27FC236}">
                      <a16:creationId xmlns:a16="http://schemas.microsoft.com/office/drawing/2014/main" id="{250E9164-0BAA-4C80-22F7-FC0E98EC9A4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Ovaal 159">
                  <a:extLst>
                    <a:ext uri="{FF2B5EF4-FFF2-40B4-BE49-F238E27FC236}">
                      <a16:creationId xmlns:a16="http://schemas.microsoft.com/office/drawing/2014/main" id="{7D0905B5-EAC6-635B-4B65-12B6C887F629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Ovaal 160">
                  <a:extLst>
                    <a:ext uri="{FF2B5EF4-FFF2-40B4-BE49-F238E27FC236}">
                      <a16:creationId xmlns:a16="http://schemas.microsoft.com/office/drawing/2014/main" id="{10810E50-027E-AA9E-AC30-27D8541B215F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al 161">
                  <a:extLst>
                    <a:ext uri="{FF2B5EF4-FFF2-40B4-BE49-F238E27FC236}">
                      <a16:creationId xmlns:a16="http://schemas.microsoft.com/office/drawing/2014/main" id="{D6DBDB19-640B-17DC-CF00-AA8E6DFD85E6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5" name="Rechthoek: afgeronde hoeken 155">
              <a:extLst>
                <a:ext uri="{FF2B5EF4-FFF2-40B4-BE49-F238E27FC236}">
                  <a16:creationId xmlns:a16="http://schemas.microsoft.com/office/drawing/2014/main" id="{57CB3648-D157-A7DD-38E1-7E92DE8FACE1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</a:t>
              </a:r>
            </a:p>
          </p:txBody>
        </p:sp>
      </p:grpSp>
      <p:grpSp>
        <p:nvGrpSpPr>
          <p:cNvPr id="62" name="Groep 166">
            <a:extLst>
              <a:ext uri="{FF2B5EF4-FFF2-40B4-BE49-F238E27FC236}">
                <a16:creationId xmlns:a16="http://schemas.microsoft.com/office/drawing/2014/main" id="{9AB12896-AB7F-2447-AE4F-87BC34116934}"/>
              </a:ext>
            </a:extLst>
          </p:cNvPr>
          <p:cNvGrpSpPr/>
          <p:nvPr/>
        </p:nvGrpSpPr>
        <p:grpSpPr>
          <a:xfrm>
            <a:off x="4054329" y="1867712"/>
            <a:ext cx="2368072" cy="1042039"/>
            <a:chOff x="1358223" y="3001022"/>
            <a:chExt cx="2368072" cy="1042039"/>
          </a:xfrm>
        </p:grpSpPr>
        <p:grpSp>
          <p:nvGrpSpPr>
            <p:cNvPr id="63" name="Groep 167">
              <a:extLst>
                <a:ext uri="{FF2B5EF4-FFF2-40B4-BE49-F238E27FC236}">
                  <a16:creationId xmlns:a16="http://schemas.microsoft.com/office/drawing/2014/main" id="{03CC1319-3B66-F117-F2E2-32714FE73D1A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66" name="Rechthoek: afgeronde hoeken 169">
                <a:extLst>
                  <a:ext uri="{FF2B5EF4-FFF2-40B4-BE49-F238E27FC236}">
                    <a16:creationId xmlns:a16="http://schemas.microsoft.com/office/drawing/2014/main" id="{98680B03-074F-CACD-CC64-3704FE256B9A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Inventariseren of infrastructuur voor FAIR data voldoet aan behoefte, m.n. resources voor big data</a:t>
                </a:r>
              </a:p>
            </p:txBody>
          </p:sp>
          <p:grpSp>
            <p:nvGrpSpPr>
              <p:cNvPr id="70" name="Groep 170">
                <a:extLst>
                  <a:ext uri="{FF2B5EF4-FFF2-40B4-BE49-F238E27FC236}">
                    <a16:creationId xmlns:a16="http://schemas.microsoft.com/office/drawing/2014/main" id="{A859991A-EBA0-7A13-40EA-ED68B52E183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71" name="Rechthoek: afgeronde hoeken 171">
                  <a:extLst>
                    <a:ext uri="{FF2B5EF4-FFF2-40B4-BE49-F238E27FC236}">
                      <a16:creationId xmlns:a16="http://schemas.microsoft.com/office/drawing/2014/main" id="{BDA8242B-D43C-0BC4-A814-ACE813CC78D4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al 172">
                  <a:extLst>
                    <a:ext uri="{FF2B5EF4-FFF2-40B4-BE49-F238E27FC236}">
                      <a16:creationId xmlns:a16="http://schemas.microsoft.com/office/drawing/2014/main" id="{FC6EC5D0-E624-F55F-5ED9-CC2AC691F846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Ovaal 173">
                  <a:extLst>
                    <a:ext uri="{FF2B5EF4-FFF2-40B4-BE49-F238E27FC236}">
                      <a16:creationId xmlns:a16="http://schemas.microsoft.com/office/drawing/2014/main" id="{4DF8357F-40D4-A991-78F4-E3BD5DD01A47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Ovaal 174">
                  <a:extLst>
                    <a:ext uri="{FF2B5EF4-FFF2-40B4-BE49-F238E27FC236}">
                      <a16:creationId xmlns:a16="http://schemas.microsoft.com/office/drawing/2014/main" id="{571727D6-F34B-D1F5-9949-954E8D99783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5" name="Rechthoek: afgeronde hoeken 168">
              <a:extLst>
                <a:ext uri="{FF2B5EF4-FFF2-40B4-BE49-F238E27FC236}">
                  <a16:creationId xmlns:a16="http://schemas.microsoft.com/office/drawing/2014/main" id="{196787D1-36BF-AA2A-E208-E09CED881CE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RDM netwerk Bèta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UB</a:t>
              </a:r>
            </a:p>
          </p:txBody>
        </p:sp>
      </p:grpSp>
      <p:grpSp>
        <p:nvGrpSpPr>
          <p:cNvPr id="121" name="Groep 175">
            <a:extLst>
              <a:ext uri="{FF2B5EF4-FFF2-40B4-BE49-F238E27FC236}">
                <a16:creationId xmlns:a16="http://schemas.microsoft.com/office/drawing/2014/main" id="{D76A314D-CE4D-4C9A-C0D3-B4EA5AD3AD6A}"/>
              </a:ext>
            </a:extLst>
          </p:cNvPr>
          <p:cNvGrpSpPr/>
          <p:nvPr/>
        </p:nvGrpSpPr>
        <p:grpSpPr>
          <a:xfrm>
            <a:off x="4051859" y="3044571"/>
            <a:ext cx="2368072" cy="1042039"/>
            <a:chOff x="1358223" y="3001022"/>
            <a:chExt cx="2368072" cy="1042039"/>
          </a:xfrm>
        </p:grpSpPr>
        <p:grpSp>
          <p:nvGrpSpPr>
            <p:cNvPr id="126" name="Groep 176">
              <a:extLst>
                <a:ext uri="{FF2B5EF4-FFF2-40B4-BE49-F238E27FC236}">
                  <a16:creationId xmlns:a16="http://schemas.microsoft.com/office/drawing/2014/main" id="{FE76C31E-8E9B-E2B3-9F97-D5AB6FEBC6C4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30" name="Rechthoek: afgeronde hoeken 178">
                <a:extLst>
                  <a:ext uri="{FF2B5EF4-FFF2-40B4-BE49-F238E27FC236}">
                    <a16:creationId xmlns:a16="http://schemas.microsoft.com/office/drawing/2014/main" id="{580ABB8B-EB2E-B575-B7E7-401E786F1EEC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Ontwikkelen van richtlijn voor dataopslag in relatie tot duurzaamheid</a:t>
                </a:r>
              </a:p>
            </p:txBody>
          </p:sp>
          <p:grpSp>
            <p:nvGrpSpPr>
              <p:cNvPr id="132" name="Groep 179">
                <a:extLst>
                  <a:ext uri="{FF2B5EF4-FFF2-40B4-BE49-F238E27FC236}">
                    <a16:creationId xmlns:a16="http://schemas.microsoft.com/office/drawing/2014/main" id="{6FE89FA0-B2AF-4887-5816-B97D0F61E723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33" name="Rechthoek: afgeronde hoeken 180">
                  <a:extLst>
                    <a:ext uri="{FF2B5EF4-FFF2-40B4-BE49-F238E27FC236}">
                      <a16:creationId xmlns:a16="http://schemas.microsoft.com/office/drawing/2014/main" id="{D0C90005-60B6-FBC2-18B3-60CDDD23D67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Ovaal 181">
                  <a:extLst>
                    <a:ext uri="{FF2B5EF4-FFF2-40B4-BE49-F238E27FC236}">
                      <a16:creationId xmlns:a16="http://schemas.microsoft.com/office/drawing/2014/main" id="{833CE58C-1BD2-6A5F-8ECB-7247B00BB1BF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Ovaal 182">
                  <a:extLst>
                    <a:ext uri="{FF2B5EF4-FFF2-40B4-BE49-F238E27FC236}">
                      <a16:creationId xmlns:a16="http://schemas.microsoft.com/office/drawing/2014/main" id="{28270589-27E9-869B-8277-6436E052577D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Ovaal 183">
                  <a:extLst>
                    <a:ext uri="{FF2B5EF4-FFF2-40B4-BE49-F238E27FC236}">
                      <a16:creationId xmlns:a16="http://schemas.microsoft.com/office/drawing/2014/main" id="{5F5107E7-88DD-355D-2CC7-C98F03BA66DF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28" name="Rechthoek: afgeronde hoeken 177">
              <a:extLst>
                <a:ext uri="{FF2B5EF4-FFF2-40B4-BE49-F238E27FC236}">
                  <a16:creationId xmlns:a16="http://schemas.microsoft.com/office/drawing/2014/main" id="{32C811D3-D5AC-289F-D17A-79A0B2387F1C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RDM netwerk Bèta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UB</a:t>
              </a:r>
            </a:p>
          </p:txBody>
        </p:sp>
      </p:grpSp>
      <p:grpSp>
        <p:nvGrpSpPr>
          <p:cNvPr id="140" name="Groep 152">
            <a:extLst>
              <a:ext uri="{FF2B5EF4-FFF2-40B4-BE49-F238E27FC236}">
                <a16:creationId xmlns:a16="http://schemas.microsoft.com/office/drawing/2014/main" id="{634FF5F3-7711-A53C-FD3C-C882093C8006}"/>
              </a:ext>
            </a:extLst>
          </p:cNvPr>
          <p:cNvGrpSpPr/>
          <p:nvPr/>
        </p:nvGrpSpPr>
        <p:grpSpPr>
          <a:xfrm>
            <a:off x="1358223" y="1867712"/>
            <a:ext cx="2368072" cy="1042039"/>
            <a:chOff x="1358223" y="3001022"/>
            <a:chExt cx="2368072" cy="1042039"/>
          </a:xfrm>
        </p:grpSpPr>
        <p:grpSp>
          <p:nvGrpSpPr>
            <p:cNvPr id="141" name="Groep 34">
              <a:extLst>
                <a:ext uri="{FF2B5EF4-FFF2-40B4-BE49-F238E27FC236}">
                  <a16:creationId xmlns:a16="http://schemas.microsoft.com/office/drawing/2014/main" id="{F63FD1F2-5D99-1BCE-4649-8BFA67661ADA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45" name="Rechthoek: afgeronde hoeken 9">
                <a:extLst>
                  <a:ext uri="{FF2B5EF4-FFF2-40B4-BE49-F238E27FC236}">
                    <a16:creationId xmlns:a16="http://schemas.microsoft.com/office/drawing/2014/main" id="{565A7722-C820-20A2-DB13-FAA63299751A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N</a:t>
                </a:r>
                <a:r>
                  <a:rPr lang="nl-NL" sz="1100" dirty="0" err="1">
                    <a:solidFill>
                      <a:schemeClr val="tx1"/>
                    </a:solidFill>
                    <a:latin typeface="Aptos" panose="02110004020202020204"/>
                  </a:rPr>
                  <a:t>ieuwe</a:t>
                </a: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nl-NL" sz="1100" dirty="0" err="1">
                    <a:solidFill>
                      <a:schemeClr val="tx1"/>
                    </a:solidFill>
                    <a:latin typeface="Aptos" panose="02110004020202020204"/>
                  </a:rPr>
                  <a:t>intiatieven</a:t>
                </a: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 voor </a:t>
                </a:r>
                <a:r>
                  <a:rPr lang="nl-NL" sz="1100" dirty="0" err="1">
                    <a:solidFill>
                      <a:schemeClr val="tx1"/>
                    </a:solidFill>
                    <a:latin typeface="Aptos" panose="02110004020202020204"/>
                  </a:rPr>
                  <a:t>inter</a:t>
                </a: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- en </a:t>
                </a:r>
                <a:r>
                  <a:rPr lang="nl-NL" sz="1100" dirty="0" err="1">
                    <a:solidFill>
                      <a:schemeClr val="tx1"/>
                    </a:solidFill>
                    <a:latin typeface="Aptos" panose="02110004020202020204"/>
                  </a:rPr>
                  <a:t>transdisciplinariteit</a:t>
                </a: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 die onderzoek en onderwijs verbinden</a:t>
                </a:r>
              </a:p>
            </p:txBody>
          </p:sp>
          <p:grpSp>
            <p:nvGrpSpPr>
              <p:cNvPr id="146" name="Groep 28">
                <a:extLst>
                  <a:ext uri="{FF2B5EF4-FFF2-40B4-BE49-F238E27FC236}">
                    <a16:creationId xmlns:a16="http://schemas.microsoft.com/office/drawing/2014/main" id="{81F3FF7B-497E-D74D-1ED1-0665F010718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47" name="Rechthoek: afgeronde hoeken 27">
                  <a:extLst>
                    <a:ext uri="{FF2B5EF4-FFF2-40B4-BE49-F238E27FC236}">
                      <a16:creationId xmlns:a16="http://schemas.microsoft.com/office/drawing/2014/main" id="{0CC44094-034A-7182-15F1-5F87CBE59890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Ovaal 21">
                  <a:extLst>
                    <a:ext uri="{FF2B5EF4-FFF2-40B4-BE49-F238E27FC236}">
                      <a16:creationId xmlns:a16="http://schemas.microsoft.com/office/drawing/2014/main" id="{F391DE0B-A962-015C-FDAD-1EA75EC456C7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Ovaal 22">
                  <a:extLst>
                    <a:ext uri="{FF2B5EF4-FFF2-40B4-BE49-F238E27FC236}">
                      <a16:creationId xmlns:a16="http://schemas.microsoft.com/office/drawing/2014/main" id="{A59F8A6C-C8E5-B644-3335-5FF7DA3D87AE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Ovaal 23">
                  <a:extLst>
                    <a:ext uri="{FF2B5EF4-FFF2-40B4-BE49-F238E27FC236}">
                      <a16:creationId xmlns:a16="http://schemas.microsoft.com/office/drawing/2014/main" id="{95B8AF06-548B-B0BE-BDEC-A726F3C952EE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42" name="Rechthoek: afgeronde hoeken 135">
              <a:extLst>
                <a:ext uri="{FF2B5EF4-FFF2-40B4-BE49-F238E27FC236}">
                  <a16:creationId xmlns:a16="http://schemas.microsoft.com/office/drawing/2014/main" id="{D7AADFA6-805F-A9FF-173E-CDB151FFEA22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 en opleidingen</a:t>
              </a:r>
            </a:p>
          </p:txBody>
        </p:sp>
      </p:grpSp>
      <p:grpSp>
        <p:nvGrpSpPr>
          <p:cNvPr id="151" name="Groep 175">
            <a:extLst>
              <a:ext uri="{FF2B5EF4-FFF2-40B4-BE49-F238E27FC236}">
                <a16:creationId xmlns:a16="http://schemas.microsoft.com/office/drawing/2014/main" id="{59CCD6D9-DA2E-3AE5-070E-2F7E2B67ACEF}"/>
              </a:ext>
            </a:extLst>
          </p:cNvPr>
          <p:cNvGrpSpPr/>
          <p:nvPr/>
        </p:nvGrpSpPr>
        <p:grpSpPr>
          <a:xfrm>
            <a:off x="4061725" y="4266331"/>
            <a:ext cx="2368072" cy="1042039"/>
            <a:chOff x="1358223" y="3001022"/>
            <a:chExt cx="2368072" cy="1042039"/>
          </a:xfrm>
        </p:grpSpPr>
        <p:grpSp>
          <p:nvGrpSpPr>
            <p:cNvPr id="152" name="Groep 176">
              <a:extLst>
                <a:ext uri="{FF2B5EF4-FFF2-40B4-BE49-F238E27FC236}">
                  <a16:creationId xmlns:a16="http://schemas.microsoft.com/office/drawing/2014/main" id="{78E88D4A-0CA4-E722-AB11-A47EE52314C2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66" name="Rechthoek: afgeronde hoeken 178">
                <a:extLst>
                  <a:ext uri="{FF2B5EF4-FFF2-40B4-BE49-F238E27FC236}">
                    <a16:creationId xmlns:a16="http://schemas.microsoft.com/office/drawing/2014/main" id="{CF98901B-F3C3-3262-0D5A-B700CC0E3D0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Wetenschappelijke integriteit beter verankeren in academische kern Ba + Ma</a:t>
                </a:r>
              </a:p>
            </p:txBody>
          </p:sp>
          <p:grpSp>
            <p:nvGrpSpPr>
              <p:cNvPr id="212" name="Groep 179">
                <a:extLst>
                  <a:ext uri="{FF2B5EF4-FFF2-40B4-BE49-F238E27FC236}">
                    <a16:creationId xmlns:a16="http://schemas.microsoft.com/office/drawing/2014/main" id="{5045EA23-9EE6-ABFD-BFA6-F15C27B0A96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13" name="Rechthoek: afgeronde hoeken 180">
                  <a:extLst>
                    <a:ext uri="{FF2B5EF4-FFF2-40B4-BE49-F238E27FC236}">
                      <a16:creationId xmlns:a16="http://schemas.microsoft.com/office/drawing/2014/main" id="{B973B589-74F9-72B1-4CA6-2C228F95C662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Ovaal 181">
                  <a:extLst>
                    <a:ext uri="{FF2B5EF4-FFF2-40B4-BE49-F238E27FC236}">
                      <a16:creationId xmlns:a16="http://schemas.microsoft.com/office/drawing/2014/main" id="{035FB230-0B4F-0DEF-9E1D-CA0C3AF5BF41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Ovaal 182">
                  <a:extLst>
                    <a:ext uri="{FF2B5EF4-FFF2-40B4-BE49-F238E27FC236}">
                      <a16:creationId xmlns:a16="http://schemas.microsoft.com/office/drawing/2014/main" id="{4501B5A4-462B-0761-448C-E82E061766B6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Ovaal 183">
                  <a:extLst>
                    <a:ext uri="{FF2B5EF4-FFF2-40B4-BE49-F238E27FC236}">
                      <a16:creationId xmlns:a16="http://schemas.microsoft.com/office/drawing/2014/main" id="{42BF1D07-0C2D-9F54-A17B-C52A80130C7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5" name="Rechthoek: afgeronde hoeken 177">
              <a:extLst>
                <a:ext uri="{FF2B5EF4-FFF2-40B4-BE49-F238E27FC236}">
                  <a16:creationId xmlns:a16="http://schemas.microsoft.com/office/drawing/2014/main" id="{290318B8-B56D-1BBD-12F2-3A354F1F466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opleidingen</a:t>
              </a:r>
            </a:p>
          </p:txBody>
        </p:sp>
      </p:grpSp>
      <p:grpSp>
        <p:nvGrpSpPr>
          <p:cNvPr id="5" name="Groep 193">
            <a:extLst>
              <a:ext uri="{FF2B5EF4-FFF2-40B4-BE49-F238E27FC236}">
                <a16:creationId xmlns:a16="http://schemas.microsoft.com/office/drawing/2014/main" id="{DDC93C4F-433B-1F32-78E4-6C3B894A97C2}"/>
              </a:ext>
            </a:extLst>
          </p:cNvPr>
          <p:cNvGrpSpPr/>
          <p:nvPr/>
        </p:nvGrpSpPr>
        <p:grpSpPr>
          <a:xfrm>
            <a:off x="9312418" y="4253500"/>
            <a:ext cx="2368072" cy="1042039"/>
            <a:chOff x="1358223" y="3001022"/>
            <a:chExt cx="2368072" cy="1042039"/>
          </a:xfrm>
        </p:grpSpPr>
        <p:grpSp>
          <p:nvGrpSpPr>
            <p:cNvPr id="6" name="Groep 194">
              <a:extLst>
                <a:ext uri="{FF2B5EF4-FFF2-40B4-BE49-F238E27FC236}">
                  <a16:creationId xmlns:a16="http://schemas.microsoft.com/office/drawing/2014/main" id="{707C8C0A-54AB-8AD5-40B4-3C5D4A6A0AA2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196">
                <a:extLst>
                  <a:ext uri="{FF2B5EF4-FFF2-40B4-BE49-F238E27FC236}">
                    <a16:creationId xmlns:a16="http://schemas.microsoft.com/office/drawing/2014/main" id="{52F74631-8D6B-B51E-F2CA-09C42FBC2BC1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Inzetten op de verbinding tussen Beta en technologie</a:t>
                </a:r>
              </a:p>
            </p:txBody>
          </p:sp>
          <p:grpSp>
            <p:nvGrpSpPr>
              <p:cNvPr id="12" name="Groep 197">
                <a:extLst>
                  <a:ext uri="{FF2B5EF4-FFF2-40B4-BE49-F238E27FC236}">
                    <a16:creationId xmlns:a16="http://schemas.microsoft.com/office/drawing/2014/main" id="{1F642C2B-48B8-3CA9-679D-6AC10A61B8BB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4" name="Rechthoek: afgeronde hoeken 198">
                  <a:extLst>
                    <a:ext uri="{FF2B5EF4-FFF2-40B4-BE49-F238E27FC236}">
                      <a16:creationId xmlns:a16="http://schemas.microsoft.com/office/drawing/2014/main" id="{24FA93BB-00EB-1701-7EE0-8A465ED86128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Ovaal 199">
                  <a:extLst>
                    <a:ext uri="{FF2B5EF4-FFF2-40B4-BE49-F238E27FC236}">
                      <a16:creationId xmlns:a16="http://schemas.microsoft.com/office/drawing/2014/main" id="{BD6808E0-8578-FEFF-FAE6-CA3B6A5EC301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al 200">
                  <a:extLst>
                    <a:ext uri="{FF2B5EF4-FFF2-40B4-BE49-F238E27FC236}">
                      <a16:creationId xmlns:a16="http://schemas.microsoft.com/office/drawing/2014/main" id="{B1644C39-1C49-DE57-8D27-24431AFD0954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al 201">
                  <a:extLst>
                    <a:ext uri="{FF2B5EF4-FFF2-40B4-BE49-F238E27FC236}">
                      <a16:creationId xmlns:a16="http://schemas.microsoft.com/office/drawing/2014/main" id="{D82B0D65-0F45-F989-06F8-A3950B906F2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7" name="Rechthoek: afgeronde hoeken 195">
              <a:extLst>
                <a:ext uri="{FF2B5EF4-FFF2-40B4-BE49-F238E27FC236}">
                  <a16:creationId xmlns:a16="http://schemas.microsoft.com/office/drawing/2014/main" id="{EBA3A40A-0009-ECD1-B0C8-5F4DACB36C44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</a:t>
              </a:r>
            </a:p>
          </p:txBody>
        </p:sp>
      </p:grpSp>
      <p:grpSp>
        <p:nvGrpSpPr>
          <p:cNvPr id="18" name="Groep 193">
            <a:extLst>
              <a:ext uri="{FF2B5EF4-FFF2-40B4-BE49-F238E27FC236}">
                <a16:creationId xmlns:a16="http://schemas.microsoft.com/office/drawing/2014/main" id="{38ED17FE-AC2A-AA1C-9766-BF25D4E36906}"/>
              </a:ext>
            </a:extLst>
          </p:cNvPr>
          <p:cNvGrpSpPr/>
          <p:nvPr/>
        </p:nvGrpSpPr>
        <p:grpSpPr>
          <a:xfrm>
            <a:off x="9312412" y="1834355"/>
            <a:ext cx="2368072" cy="1042039"/>
            <a:chOff x="1358223" y="3001022"/>
            <a:chExt cx="2368072" cy="1042039"/>
          </a:xfrm>
        </p:grpSpPr>
        <p:grpSp>
          <p:nvGrpSpPr>
            <p:cNvPr id="19" name="Groep 194">
              <a:extLst>
                <a:ext uri="{FF2B5EF4-FFF2-40B4-BE49-F238E27FC236}">
                  <a16:creationId xmlns:a16="http://schemas.microsoft.com/office/drawing/2014/main" id="{22429322-E9D2-09C0-DDBA-52229163FE43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1" name="Rechthoek: afgeronde hoeken 196">
                <a:extLst>
                  <a:ext uri="{FF2B5EF4-FFF2-40B4-BE49-F238E27FC236}">
                    <a16:creationId xmlns:a16="http://schemas.microsoft.com/office/drawing/2014/main" id="{6740A11D-906B-469E-996E-2B48D761D4A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Focus en massa versterken in onderzoeksportfolio om ruimte te creëren voor innovatie</a:t>
                </a:r>
              </a:p>
            </p:txBody>
          </p:sp>
          <p:grpSp>
            <p:nvGrpSpPr>
              <p:cNvPr id="22" name="Groep 197">
                <a:extLst>
                  <a:ext uri="{FF2B5EF4-FFF2-40B4-BE49-F238E27FC236}">
                    <a16:creationId xmlns:a16="http://schemas.microsoft.com/office/drawing/2014/main" id="{FD674A3D-F5BE-BE0F-009E-B9D324AB1063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3" name="Rechthoek: afgeronde hoeken 198">
                  <a:extLst>
                    <a:ext uri="{FF2B5EF4-FFF2-40B4-BE49-F238E27FC236}">
                      <a16:creationId xmlns:a16="http://schemas.microsoft.com/office/drawing/2014/main" id="{F9213570-E2AE-EC46-1F0B-0035A763A7D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199">
                  <a:extLst>
                    <a:ext uri="{FF2B5EF4-FFF2-40B4-BE49-F238E27FC236}">
                      <a16:creationId xmlns:a16="http://schemas.microsoft.com/office/drawing/2014/main" id="{CE180594-DB41-266E-8895-D76EF0A28435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al 200">
                  <a:extLst>
                    <a:ext uri="{FF2B5EF4-FFF2-40B4-BE49-F238E27FC236}">
                      <a16:creationId xmlns:a16="http://schemas.microsoft.com/office/drawing/2014/main" id="{D4AAC644-6C38-A85C-F37F-5ECB5DEE623B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al 201">
                  <a:extLst>
                    <a:ext uri="{FF2B5EF4-FFF2-40B4-BE49-F238E27FC236}">
                      <a16:creationId xmlns:a16="http://schemas.microsoft.com/office/drawing/2014/main" id="{E083CA4B-5B68-2495-3656-DA4255746E3D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" name="Rechthoek: afgeronde hoeken 195">
              <a:extLst>
                <a:ext uri="{FF2B5EF4-FFF2-40B4-BE49-F238E27FC236}">
                  <a16:creationId xmlns:a16="http://schemas.microsoft.com/office/drawing/2014/main" id="{A788E6D3-536D-B2B6-9960-70DEB70FC427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OZ met afdeli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328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F4EEF-4168-851D-E649-435C9C84B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29BA198C-B941-0825-D1FD-E57096E163B3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0F355E48-A5AD-570F-8C05-D4192924EDB4}"/>
              </a:ext>
            </a:extLst>
          </p:cNvPr>
          <p:cNvSpPr/>
          <p:nvPr/>
        </p:nvSpPr>
        <p:spPr>
          <a:xfrm>
            <a:off x="1329092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​​Valorisatie verankeren in loopbaan- en financieel beleid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1" name="Pijl: vijfhoek 10">
            <a:extLst>
              <a:ext uri="{FF2B5EF4-FFF2-40B4-BE49-F238E27FC236}">
                <a16:creationId xmlns:a16="http://schemas.microsoft.com/office/drawing/2014/main" id="{C5F6979C-463A-DF23-6681-75230030D9A2}"/>
              </a:ext>
            </a:extLst>
          </p:cNvPr>
          <p:cNvSpPr/>
          <p:nvPr/>
        </p:nvSpPr>
        <p:spPr>
          <a:xfrm>
            <a:off x="137394" y="5370185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DE1ACD73-5A83-8E2E-03F0-365024F5EA0E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34C7CE2C-8F3B-2797-7A51-81FE9CDF09D4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FCC1A013-2AE6-8CE5-C26A-BCE940AEDE34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BETA 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5DCAFF63-5359-B053-31C5-91D5B04AC5B1}"/>
              </a:ext>
            </a:extLst>
          </p:cNvPr>
          <p:cNvSpPr/>
          <p:nvPr/>
        </p:nvSpPr>
        <p:spPr>
          <a:xfrm>
            <a:off x="1939905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Valorisatie &amp; Impact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C3ABF2BC-32B0-A9FE-AD0A-D5621A15700A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 err="1">
                <a:solidFill>
                  <a:schemeClr val="tx1"/>
                </a:solidFill>
              </a:rPr>
              <a:t>Pfh</a:t>
            </a:r>
            <a:r>
              <a:rPr lang="nl-NL" sz="1400" b="1">
                <a:solidFill>
                  <a:schemeClr val="tx1"/>
                </a:solidFill>
              </a:rPr>
              <a:t> Valorisatie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7C4A4FD2-B9D8-6A53-E2C1-04892F3C228B}"/>
              </a:ext>
            </a:extLst>
          </p:cNvPr>
          <p:cNvSpPr/>
          <p:nvPr/>
        </p:nvSpPr>
        <p:spPr>
          <a:xfrm>
            <a:off x="5667207" y="94006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2027-2030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F2D36E2D-63AD-7876-4851-5B85CF98608F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11" name="Pijl: vijfhoek 110">
            <a:extLst>
              <a:ext uri="{FF2B5EF4-FFF2-40B4-BE49-F238E27FC236}">
                <a16:creationId xmlns:a16="http://schemas.microsoft.com/office/drawing/2014/main" id="{622E7249-61E5-FD06-3CD9-7C588EF5FFD5}"/>
              </a:ext>
            </a:extLst>
          </p:cNvPr>
          <p:cNvSpPr/>
          <p:nvPr/>
        </p:nvSpPr>
        <p:spPr>
          <a:xfrm>
            <a:off x="137394" y="1978061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5BFAD33F-11F9-5722-4967-EB0A3B30028D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EBF34882-B74D-62D6-9612-3E2E90CF9C00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3048E3B0-3A2F-D287-CA20-EC6064434CBC}"/>
              </a:ext>
            </a:extLst>
          </p:cNvPr>
          <p:cNvSpPr/>
          <p:nvPr/>
        </p:nvSpPr>
        <p:spPr>
          <a:xfrm>
            <a:off x="4027396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Stimuleren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van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ondernemend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gedrag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dat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samenwerkings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-partners en financiering </a:t>
            </a:r>
            <a:r>
              <a:rPr lang="en-US" sz="1200" b="1" baseline="0" err="1">
                <a:solidFill>
                  <a:srgbClr val="FFFFFF"/>
                </a:solidFill>
                <a:latin typeface="Aptos"/>
              </a:rPr>
              <a:t>oplevert</a:t>
            </a:r>
            <a:r>
              <a:rPr lang="en-US" sz="1200" b="1" baseline="0">
                <a:solidFill>
                  <a:srgbClr val="FFFFFF"/>
                </a:solidFill>
                <a:latin typeface="Aptos"/>
              </a:rPr>
              <a:t>​​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DB4EDB5C-1E27-E65D-64E9-8C2EEAFDBA7B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C86C598C-F72D-3695-F628-58422B1E82AE}"/>
              </a:ext>
            </a:extLst>
          </p:cNvPr>
          <p:cNvSpPr/>
          <p:nvPr/>
        </p:nvSpPr>
        <p:spPr>
          <a:xfrm>
            <a:off x="6702525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​​De VU is een kennis- en </a:t>
            </a:r>
            <a:r>
              <a:rPr lang="nl-NL" sz="1200" b="1" baseline="0" err="1">
                <a:solidFill>
                  <a:srgbClr val="FFFFFF"/>
                </a:solidFill>
                <a:latin typeface="Aptos"/>
              </a:rPr>
              <a:t>impacthub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D09607AB-E229-3B14-537A-7C8C4D2C5DF9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C0ECD8E3-23AA-540A-9D61-5DBD59DCD267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C13C6A0E-D1C7-C383-2424-72F0FE9C566B}"/>
              </a:ext>
            </a:extLst>
          </p:cNvPr>
          <p:cNvGrpSpPr/>
          <p:nvPr/>
        </p:nvGrpSpPr>
        <p:grpSpPr>
          <a:xfrm>
            <a:off x="1329091" y="4445317"/>
            <a:ext cx="2545845" cy="1887386"/>
            <a:chOff x="1329092" y="1590911"/>
            <a:chExt cx="2416182" cy="890920"/>
          </a:xfrm>
        </p:grpSpPr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6976CCBB-BC2C-3D4B-0B1E-B7D786B6C117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" name="Rechthoek: afgeronde hoeken 8">
                <a:extLst>
                  <a:ext uri="{FF2B5EF4-FFF2-40B4-BE49-F238E27FC236}">
                    <a16:creationId xmlns:a16="http://schemas.microsoft.com/office/drawing/2014/main" id="{74ADE998-6B38-7DFB-E177-CA5530C20464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Valorisatie in jaargesprekken o.b.v. 7 profielen; KPI aantal medewerkers met een impactprofiel </a:t>
                </a:r>
              </a:p>
            </p:txBody>
          </p:sp>
          <p:sp>
            <p:nvSpPr>
              <p:cNvPr id="64" name="Rechthoek: afgeronde hoeken 27">
                <a:extLst>
                  <a:ext uri="{FF2B5EF4-FFF2-40B4-BE49-F238E27FC236}">
                    <a16:creationId xmlns:a16="http://schemas.microsoft.com/office/drawing/2014/main" id="{0E45AAE3-1695-B678-94FE-A3A87E9376DE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 dirty="0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67" name="Tekstvak 66">
              <a:extLst>
                <a:ext uri="{FF2B5EF4-FFF2-40B4-BE49-F238E27FC236}">
                  <a16:creationId xmlns:a16="http://schemas.microsoft.com/office/drawing/2014/main" id="{587B6C4E-4BA5-E30F-D745-8F4ABA9EA9B8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id="{CA80AC5B-7745-0D17-DCE1-B8E61566853A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68" name="Rechthoek: afgeronde hoeken 67">
                <a:extLst>
                  <a:ext uri="{FF2B5EF4-FFF2-40B4-BE49-F238E27FC236}">
                    <a16:creationId xmlns:a16="http://schemas.microsoft.com/office/drawing/2014/main" id="{24F030CA-47D7-45E1-062B-5BD43D095F4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Transparante tarieven; KPI tariefstructuur  (ja/nee)</a:t>
                </a:r>
              </a:p>
            </p:txBody>
          </p:sp>
          <p:sp>
            <p:nvSpPr>
              <p:cNvPr id="69" name="Rechthoek: afgeronde hoeken 27">
                <a:extLst>
                  <a:ext uri="{FF2B5EF4-FFF2-40B4-BE49-F238E27FC236}">
                    <a16:creationId xmlns:a16="http://schemas.microsoft.com/office/drawing/2014/main" id="{281A9044-D1C4-F9CD-92F2-38941EA9FBBF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 dirty="0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75" name="Groep 74">
              <a:extLst>
                <a:ext uri="{FF2B5EF4-FFF2-40B4-BE49-F238E27FC236}">
                  <a16:creationId xmlns:a16="http://schemas.microsoft.com/office/drawing/2014/main" id="{BE8AD061-E0C0-2D71-BC97-201B4FF4CBB2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76" name="Rechthoek: afgeronde hoeken 75">
                <a:extLst>
                  <a:ext uri="{FF2B5EF4-FFF2-40B4-BE49-F238E27FC236}">
                    <a16:creationId xmlns:a16="http://schemas.microsoft.com/office/drawing/2014/main" id="{55BD0BB6-3E43-DD5C-66CE-BB36CC19394A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Contractactiviteiten zichtbaar per afdeling; KPI dashboard gebruikt in afdelingen</a:t>
                </a:r>
              </a:p>
            </p:txBody>
          </p:sp>
          <p:sp>
            <p:nvSpPr>
              <p:cNvPr id="77" name="Rechthoek: afgeronde hoeken 27">
                <a:extLst>
                  <a:ext uri="{FF2B5EF4-FFF2-40B4-BE49-F238E27FC236}">
                    <a16:creationId xmlns:a16="http://schemas.microsoft.com/office/drawing/2014/main" id="{66A6C458-685D-E40D-1E28-1301EE795F1E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E2FAFB60-081B-3ACF-6DA4-B25C5CA1F87D}"/>
              </a:ext>
            </a:extLst>
          </p:cNvPr>
          <p:cNvGrpSpPr/>
          <p:nvPr/>
        </p:nvGrpSpPr>
        <p:grpSpPr>
          <a:xfrm>
            <a:off x="4051929" y="4484815"/>
            <a:ext cx="2640433" cy="1836600"/>
            <a:chOff x="1329092" y="1590911"/>
            <a:chExt cx="2416182" cy="890920"/>
          </a:xfrm>
        </p:grpSpPr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25C6E789-23E0-856A-19ED-F2DF05F48EF4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88" name="Rechthoek: afgeronde hoeken 87">
                <a:extLst>
                  <a:ext uri="{FF2B5EF4-FFF2-40B4-BE49-F238E27FC236}">
                    <a16:creationId xmlns:a16="http://schemas.microsoft.com/office/drawing/2014/main" id="{EDF86965-A864-CBC1-3958-50609DB73C8E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Publiek-private samenwerking toenemend zichtbaar per afdeling; KPI jaarlijks stijgend aantal samenwerkingen</a:t>
                </a:r>
                <a:endParaRPr lang="nl-NL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hoek: afgeronde hoeken 27">
                <a:extLst>
                  <a:ext uri="{FF2B5EF4-FFF2-40B4-BE49-F238E27FC236}">
                    <a16:creationId xmlns:a16="http://schemas.microsoft.com/office/drawing/2014/main" id="{85708ED7-6FBD-BE26-6C3B-10D73939AE46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46BF2806-671F-C7ED-5C0E-DA3A4282E8B1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82" name="Groep 81">
              <a:extLst>
                <a:ext uri="{FF2B5EF4-FFF2-40B4-BE49-F238E27FC236}">
                  <a16:creationId xmlns:a16="http://schemas.microsoft.com/office/drawing/2014/main" id="{1140567F-70FA-6B7E-90E1-5AB5A0A28FF2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86" name="Rechthoek: afgeronde hoeken 85">
                <a:extLst>
                  <a:ext uri="{FF2B5EF4-FFF2-40B4-BE49-F238E27FC236}">
                    <a16:creationId xmlns:a16="http://schemas.microsoft.com/office/drawing/2014/main" id="{5C87A045-C331-12D1-39E8-88ACF9F8166C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Meer 2</a:t>
                </a:r>
                <a:r>
                  <a:rPr lang="nl-NL" sz="800" i="1" baseline="30000" dirty="0">
                    <a:solidFill>
                      <a:schemeClr val="tx1"/>
                    </a:solidFill>
                  </a:rPr>
                  <a:t>e</a:t>
                </a:r>
                <a:r>
                  <a:rPr lang="nl-NL" sz="800" i="1" dirty="0">
                    <a:solidFill>
                      <a:schemeClr val="tx1"/>
                    </a:solidFill>
                  </a:rPr>
                  <a:t>/3 GS-projecten met ondersteuning; KPI jaarlijs stijgend aantal aanvragen</a:t>
                </a:r>
              </a:p>
            </p:txBody>
          </p:sp>
          <p:sp>
            <p:nvSpPr>
              <p:cNvPr id="87" name="Rechthoek: afgeronde hoeken 27">
                <a:extLst>
                  <a:ext uri="{FF2B5EF4-FFF2-40B4-BE49-F238E27FC236}">
                    <a16:creationId xmlns:a16="http://schemas.microsoft.com/office/drawing/2014/main" id="{FF3DC5C4-A810-DDC5-9B48-AA1B10E5FC8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83" name="Groep 82">
              <a:extLst>
                <a:ext uri="{FF2B5EF4-FFF2-40B4-BE49-F238E27FC236}">
                  <a16:creationId xmlns:a16="http://schemas.microsoft.com/office/drawing/2014/main" id="{52CC5341-910C-A757-076F-6FF520F10E46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84" name="Rechthoek: afgeronde hoeken 83">
                <a:extLst>
                  <a:ext uri="{FF2B5EF4-FFF2-40B4-BE49-F238E27FC236}">
                    <a16:creationId xmlns:a16="http://schemas.microsoft.com/office/drawing/2014/main" id="{2B44C142-D83A-3F04-F082-DADAD6FC366A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Spin-offs &amp; licenties zichtbaar per afdeling; KPI jaarlijkse rapportage spin-offs/licenties </a:t>
                </a:r>
                <a:endParaRPr lang="nl-NL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hoek: afgeronde hoeken 27">
                <a:extLst>
                  <a:ext uri="{FF2B5EF4-FFF2-40B4-BE49-F238E27FC236}">
                    <a16:creationId xmlns:a16="http://schemas.microsoft.com/office/drawing/2014/main" id="{1E29CB96-CCBD-65C0-BF96-65E8A2D8A8D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90" name="Groep 89">
            <a:extLst>
              <a:ext uri="{FF2B5EF4-FFF2-40B4-BE49-F238E27FC236}">
                <a16:creationId xmlns:a16="http://schemas.microsoft.com/office/drawing/2014/main" id="{F20F358A-4B00-B506-050E-0C8AF2FFD325}"/>
              </a:ext>
            </a:extLst>
          </p:cNvPr>
          <p:cNvGrpSpPr/>
          <p:nvPr/>
        </p:nvGrpSpPr>
        <p:grpSpPr>
          <a:xfrm>
            <a:off x="6727209" y="4496104"/>
            <a:ext cx="2533430" cy="1836600"/>
            <a:chOff x="1329092" y="1590911"/>
            <a:chExt cx="2416182" cy="890920"/>
          </a:xfrm>
        </p:grpSpPr>
        <p:grpSp>
          <p:nvGrpSpPr>
            <p:cNvPr id="91" name="Groep 90">
              <a:extLst>
                <a:ext uri="{FF2B5EF4-FFF2-40B4-BE49-F238E27FC236}">
                  <a16:creationId xmlns:a16="http://schemas.microsoft.com/office/drawing/2014/main" id="{5039D240-79E0-FBC8-CB9C-5E0C1766C50D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9965"/>
              <a:chOff x="1329092" y="1672291"/>
              <a:chExt cx="2403915" cy="239965"/>
            </a:xfrm>
          </p:grpSpPr>
          <p:sp>
            <p:nvSpPr>
              <p:cNvPr id="99" name="Rechthoek: afgeronde hoeken 98">
                <a:extLst>
                  <a:ext uri="{FF2B5EF4-FFF2-40B4-BE49-F238E27FC236}">
                    <a16:creationId xmlns:a16="http://schemas.microsoft.com/office/drawing/2014/main" id="{037C8CE5-6235-DFF0-E07B-8453268935AE}"/>
                  </a:ext>
                </a:extLst>
              </p:cNvPr>
              <p:cNvSpPr/>
              <p:nvPr/>
            </p:nvSpPr>
            <p:spPr>
              <a:xfrm>
                <a:off x="1329092" y="1677767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Onderzoekslijnen extern zichtbaar met aansprekende showcases; KPI aantal onderzoekslijnen met zichtbare showcases</a:t>
                </a:r>
              </a:p>
            </p:txBody>
          </p:sp>
          <p:sp>
            <p:nvSpPr>
              <p:cNvPr id="100" name="Rechthoek: afgeronde hoeken 27">
                <a:extLst>
                  <a:ext uri="{FF2B5EF4-FFF2-40B4-BE49-F238E27FC236}">
                    <a16:creationId xmlns:a16="http://schemas.microsoft.com/office/drawing/2014/main" id="{DAADDDCF-0E3C-5142-C015-7CC1D79FBF24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92" name="Tekstvak 91">
              <a:extLst>
                <a:ext uri="{FF2B5EF4-FFF2-40B4-BE49-F238E27FC236}">
                  <a16:creationId xmlns:a16="http://schemas.microsoft.com/office/drawing/2014/main" id="{839391CB-4899-A354-4810-9D18A744D0B5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FCE6645F-8FD9-9729-4BAE-99719A024227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97" name="Rechthoek: afgeronde hoeken 96">
                <a:extLst>
                  <a:ext uri="{FF2B5EF4-FFF2-40B4-BE49-F238E27FC236}">
                    <a16:creationId xmlns:a16="http://schemas.microsoft.com/office/drawing/2014/main" id="{914BE75D-5D5C-726B-58E3-AD3A625CA98E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 dirty="0">
                    <a:solidFill>
                      <a:schemeClr val="tx1"/>
                    </a:solidFill>
                  </a:rPr>
                  <a:t>Onderzoekers en faciliteiten vindbaar voor externen; KPI contactpersonen up-to-date online </a:t>
                </a:r>
              </a:p>
            </p:txBody>
          </p:sp>
          <p:sp>
            <p:nvSpPr>
              <p:cNvPr id="98" name="Rechthoek: afgeronde hoeken 27">
                <a:extLst>
                  <a:ext uri="{FF2B5EF4-FFF2-40B4-BE49-F238E27FC236}">
                    <a16:creationId xmlns:a16="http://schemas.microsoft.com/office/drawing/2014/main" id="{FD96BD89-6D54-7FAC-1C32-B33378EBDBA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ECD37C07-21F0-3DAA-57DA-8630559FCC26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95" name="Rechthoek: afgeronde hoeken 94">
                <a:extLst>
                  <a:ext uri="{FF2B5EF4-FFF2-40B4-BE49-F238E27FC236}">
                    <a16:creationId xmlns:a16="http://schemas.microsoft.com/office/drawing/2014/main" id="{EF17D813-3FDE-B4BB-4F62-E814C3FB8D7F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endParaRPr lang="nl-NL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hthoek: afgeronde hoeken 27">
                <a:extLst>
                  <a:ext uri="{FF2B5EF4-FFF2-40B4-BE49-F238E27FC236}">
                    <a16:creationId xmlns:a16="http://schemas.microsoft.com/office/drawing/2014/main" id="{AADA480B-825F-7B0F-705D-86B33C48E23D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id="{888854E9-3616-EBBB-F006-5566AEE8D807}"/>
              </a:ext>
            </a:extLst>
          </p:cNvPr>
          <p:cNvGrpSpPr/>
          <p:nvPr/>
        </p:nvGrpSpPr>
        <p:grpSpPr>
          <a:xfrm>
            <a:off x="9382119" y="4518682"/>
            <a:ext cx="2441847" cy="1836599"/>
            <a:chOff x="1329092" y="1590911"/>
            <a:chExt cx="2416182" cy="890920"/>
          </a:xfrm>
        </p:grpSpPr>
        <p:grpSp>
          <p:nvGrpSpPr>
            <p:cNvPr id="103" name="Groep 102">
              <a:extLst>
                <a:ext uri="{FF2B5EF4-FFF2-40B4-BE49-F238E27FC236}">
                  <a16:creationId xmlns:a16="http://schemas.microsoft.com/office/drawing/2014/main" id="{301FA04F-1644-2191-6E77-10D1D2A62A61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24" name="Rechthoek: afgeronde hoeken 123">
                <a:extLst>
                  <a:ext uri="{FF2B5EF4-FFF2-40B4-BE49-F238E27FC236}">
                    <a16:creationId xmlns:a16="http://schemas.microsoft.com/office/drawing/2014/main" id="{5F0E4C8D-D0A7-0A4A-8E98-2975736D0135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hthoek: afgeronde hoeken 27">
                <a:extLst>
                  <a:ext uri="{FF2B5EF4-FFF2-40B4-BE49-F238E27FC236}">
                    <a16:creationId xmlns:a16="http://schemas.microsoft.com/office/drawing/2014/main" id="{327AFD68-1EAE-203A-C3EC-D69EB08C2504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112" name="Tekstvak 111">
              <a:extLst>
                <a:ext uri="{FF2B5EF4-FFF2-40B4-BE49-F238E27FC236}">
                  <a16:creationId xmlns:a16="http://schemas.microsoft.com/office/drawing/2014/main" id="{A7610B37-730A-C386-C701-CAB801F1AEDF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7D754704-3309-ED61-E21A-C53856AF3F2E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122" name="Rechthoek: afgeronde hoeken 121">
                <a:extLst>
                  <a:ext uri="{FF2B5EF4-FFF2-40B4-BE49-F238E27FC236}">
                    <a16:creationId xmlns:a16="http://schemas.microsoft.com/office/drawing/2014/main" id="{5E8F451E-CD67-CA97-6BD5-1C9E962B6069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hthoek: afgeronde hoeken 27">
                <a:extLst>
                  <a:ext uri="{FF2B5EF4-FFF2-40B4-BE49-F238E27FC236}">
                    <a16:creationId xmlns:a16="http://schemas.microsoft.com/office/drawing/2014/main" id="{1D9C9A4A-4FA7-C411-BDF5-C262029E7D6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75D57748-8171-5046-B069-12D7AF4A1BE5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116" name="Rechthoek: afgeronde hoeken 115">
                <a:extLst>
                  <a:ext uri="{FF2B5EF4-FFF2-40B4-BE49-F238E27FC236}">
                    <a16:creationId xmlns:a16="http://schemas.microsoft.com/office/drawing/2014/main" id="{50F5AD10-8553-7F3F-B056-10E3FDD8B578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27">
                <a:extLst>
                  <a:ext uri="{FF2B5EF4-FFF2-40B4-BE49-F238E27FC236}">
                    <a16:creationId xmlns:a16="http://schemas.microsoft.com/office/drawing/2014/main" id="{1D39D950-3576-89E0-C519-BBE657F25C3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48EBEB91-8514-62DE-97CA-8BD045FFA6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92939CC1-1841-9DF7-0086-21D477FFCD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C25D9344-F0C6-5E61-4DAB-6EA4569228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55DB51A6-4D4C-B262-0EFE-EE9025D90C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grpSp>
        <p:nvGrpSpPr>
          <p:cNvPr id="153" name="Groep 152">
            <a:extLst>
              <a:ext uri="{FF2B5EF4-FFF2-40B4-BE49-F238E27FC236}">
                <a16:creationId xmlns:a16="http://schemas.microsoft.com/office/drawing/2014/main" id="{4B5FD42A-7833-2DBC-4833-5883E9204FA4}"/>
              </a:ext>
            </a:extLst>
          </p:cNvPr>
          <p:cNvGrpSpPr/>
          <p:nvPr/>
        </p:nvGrpSpPr>
        <p:grpSpPr>
          <a:xfrm>
            <a:off x="1358223" y="1978058"/>
            <a:ext cx="2394410" cy="1209064"/>
            <a:chOff x="1358223" y="3001022"/>
            <a:chExt cx="2368072" cy="1051865"/>
          </a:xfrm>
        </p:grpSpPr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15544472-2646-C168-EF8C-9269FCCE6682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3EA6B1D4-F71B-A94C-F699-C55709C22A05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Stimuleren valorisatie-profiel jaargesprekken:</a:t>
                </a:r>
              </a:p>
              <a:p>
                <a:pPr marL="171450" indent="-171450">
                  <a:buFontTx/>
                  <a:buChar char="-"/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Gebruik 7 valorisatieprofielen uit career policy</a:t>
                </a:r>
              </a:p>
              <a:p>
                <a:pPr marL="171450" indent="-171450">
                  <a:buFontTx/>
                  <a:buChar char="-"/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Standaardvragen in verslaglegging jaargesprek </a:t>
                </a:r>
              </a:p>
            </p:txBody>
          </p:sp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48332155-B4A6-972F-CF37-633014C5AACE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8" name="Rechthoek: afgeronde hoeken 27">
                  <a:extLst>
                    <a:ext uri="{FF2B5EF4-FFF2-40B4-BE49-F238E27FC236}">
                      <a16:creationId xmlns:a16="http://schemas.microsoft.com/office/drawing/2014/main" id="{FC5E53E5-2D28-7C5A-F4A3-29030DB436B1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al 21">
                  <a:extLst>
                    <a:ext uri="{FF2B5EF4-FFF2-40B4-BE49-F238E27FC236}">
                      <a16:creationId xmlns:a16="http://schemas.microsoft.com/office/drawing/2014/main" id="{3BD66066-D7C9-82D1-BA8C-1A7DAE535D0D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al 22">
                  <a:extLst>
                    <a:ext uri="{FF2B5EF4-FFF2-40B4-BE49-F238E27FC236}">
                      <a16:creationId xmlns:a16="http://schemas.microsoft.com/office/drawing/2014/main" id="{24423EE7-60B2-881D-AC86-F37FFCB0135A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23">
                  <a:extLst>
                    <a:ext uri="{FF2B5EF4-FFF2-40B4-BE49-F238E27FC236}">
                      <a16:creationId xmlns:a16="http://schemas.microsoft.com/office/drawing/2014/main" id="{34F6CA88-B841-0939-E075-C45466D3287C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6" name="Rechthoek: afgeronde hoeken 135">
              <a:extLst>
                <a:ext uri="{FF2B5EF4-FFF2-40B4-BE49-F238E27FC236}">
                  <a16:creationId xmlns:a16="http://schemas.microsoft.com/office/drawing/2014/main" id="{23A69112-F4AD-0128-076E-2D87645BBA4E}"/>
                </a:ext>
              </a:extLst>
            </p:cNvPr>
            <p:cNvSpPr/>
            <p:nvPr/>
          </p:nvSpPr>
          <p:spPr>
            <a:xfrm>
              <a:off x="1358223" y="3813250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HRM + afdelingen</a:t>
              </a:r>
            </a:p>
          </p:txBody>
        </p:sp>
      </p:grpSp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7CD7CAE5-AAF3-740B-5636-C014BB6102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pic>
        <p:nvPicPr>
          <p:cNvPr id="138" name="Graphic 137" descr="Studentenbaret bij afstuderen met effen opvulling">
            <a:extLst>
              <a:ext uri="{FF2B5EF4-FFF2-40B4-BE49-F238E27FC236}">
                <a16:creationId xmlns:a16="http://schemas.microsoft.com/office/drawing/2014/main" id="{27D5CA7B-4761-69E0-3EC7-2BB2EC93C4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7396" y="891961"/>
            <a:ext cx="144000" cy="144000"/>
          </a:xfrm>
          <a:prstGeom prst="rect">
            <a:avLst/>
          </a:prstGeom>
        </p:spPr>
      </p:pic>
      <p:pic>
        <p:nvPicPr>
          <p:cNvPr id="139" name="Graphic 138" descr="Studentenbaret bij afstuderen met effen opvulling">
            <a:extLst>
              <a:ext uri="{FF2B5EF4-FFF2-40B4-BE49-F238E27FC236}">
                <a16:creationId xmlns:a16="http://schemas.microsoft.com/office/drawing/2014/main" id="{BA2C8DE0-E739-40C3-B50F-CA9990D79C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6569" y="907632"/>
            <a:ext cx="144000" cy="144000"/>
          </a:xfrm>
          <a:prstGeom prst="rect">
            <a:avLst/>
          </a:prstGeom>
        </p:spPr>
      </p:pic>
      <p:pic>
        <p:nvPicPr>
          <p:cNvPr id="140" name="Graphic 139" descr="Aspiratie met effen opvulling">
            <a:extLst>
              <a:ext uri="{FF2B5EF4-FFF2-40B4-BE49-F238E27FC236}">
                <a16:creationId xmlns:a16="http://schemas.microsoft.com/office/drawing/2014/main" id="{A5DE1C67-5AA8-5117-7D40-733BB93C4F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569" y="907632"/>
            <a:ext cx="144000" cy="144000"/>
          </a:xfrm>
          <a:prstGeom prst="rect">
            <a:avLst/>
          </a:prstGeom>
        </p:spPr>
      </p:pic>
      <p:grpSp>
        <p:nvGrpSpPr>
          <p:cNvPr id="154" name="Groep 153">
            <a:extLst>
              <a:ext uri="{FF2B5EF4-FFF2-40B4-BE49-F238E27FC236}">
                <a16:creationId xmlns:a16="http://schemas.microsoft.com/office/drawing/2014/main" id="{66DC65A5-AD21-F1DD-ABC2-4AF7A1C8D135}"/>
              </a:ext>
            </a:extLst>
          </p:cNvPr>
          <p:cNvGrpSpPr/>
          <p:nvPr/>
        </p:nvGrpSpPr>
        <p:grpSpPr>
          <a:xfrm>
            <a:off x="1344464" y="3279099"/>
            <a:ext cx="2368072" cy="1042039"/>
            <a:chOff x="1358223" y="3001022"/>
            <a:chExt cx="2368072" cy="1042039"/>
          </a:xfrm>
        </p:grpSpPr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CAE11F47-3A4E-E3F2-0466-D144486CD8C0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57" name="Rechthoek: afgeronde hoeken 156">
                <a:extLst>
                  <a:ext uri="{FF2B5EF4-FFF2-40B4-BE49-F238E27FC236}">
                    <a16:creationId xmlns:a16="http://schemas.microsoft.com/office/drawing/2014/main" id="{48B7CDE2-D2FE-A0A7-040A-80DA6E204970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Aanbieden &amp; factureren contractresearch &amp; gebruik  onderzoeksapparatuur</a:t>
                </a:r>
              </a:p>
              <a:p>
                <a:pPr marL="171450" indent="-171450">
                  <a:buFont typeface="System Font Regular"/>
                  <a:buChar char="-"/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Vastgestelde tarieven &amp; formats</a:t>
                </a:r>
              </a:p>
            </p:txBody>
          </p:sp>
          <p:grpSp>
            <p:nvGrpSpPr>
              <p:cNvPr id="158" name="Groep 157">
                <a:extLst>
                  <a:ext uri="{FF2B5EF4-FFF2-40B4-BE49-F238E27FC236}">
                    <a16:creationId xmlns:a16="http://schemas.microsoft.com/office/drawing/2014/main" id="{10A5B7BC-BD5E-684A-6136-DD4C1B6C180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59" name="Rechthoek: afgeronde hoeken 158">
                  <a:extLst>
                    <a:ext uri="{FF2B5EF4-FFF2-40B4-BE49-F238E27FC236}">
                      <a16:creationId xmlns:a16="http://schemas.microsoft.com/office/drawing/2014/main" id="{44E5A6C3-2F25-AE99-ED29-AE09EB53E13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al 159">
                  <a:extLst>
                    <a:ext uri="{FF2B5EF4-FFF2-40B4-BE49-F238E27FC236}">
                      <a16:creationId xmlns:a16="http://schemas.microsoft.com/office/drawing/2014/main" id="{5E3F5683-D7BD-9ED2-9337-0FDE0F5CB422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Ovaal 160">
                  <a:extLst>
                    <a:ext uri="{FF2B5EF4-FFF2-40B4-BE49-F238E27FC236}">
                      <a16:creationId xmlns:a16="http://schemas.microsoft.com/office/drawing/2014/main" id="{86EFD5FE-89FD-67C4-9373-43CFFB0642B7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al 161">
                  <a:extLst>
                    <a:ext uri="{FF2B5EF4-FFF2-40B4-BE49-F238E27FC236}">
                      <a16:creationId xmlns:a16="http://schemas.microsoft.com/office/drawing/2014/main" id="{ED3260E2-899D-43D5-FD5F-742FAF06EDA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6" name="Rechthoek: afgeronde hoeken 155">
              <a:extLst>
                <a:ext uri="{FF2B5EF4-FFF2-40B4-BE49-F238E27FC236}">
                  <a16:creationId xmlns:a16="http://schemas.microsoft.com/office/drawing/2014/main" id="{CD26B91B-8B2F-6D81-2DE0-23FB489700E7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Valorisatie</a:t>
              </a:r>
            </a:p>
          </p:txBody>
        </p:sp>
      </p:grpSp>
      <p:grpSp>
        <p:nvGrpSpPr>
          <p:cNvPr id="167" name="Groep 166">
            <a:extLst>
              <a:ext uri="{FF2B5EF4-FFF2-40B4-BE49-F238E27FC236}">
                <a16:creationId xmlns:a16="http://schemas.microsoft.com/office/drawing/2014/main" id="{09A6B73B-428E-858A-1E0D-094F2B6BBD73}"/>
              </a:ext>
            </a:extLst>
          </p:cNvPr>
          <p:cNvGrpSpPr/>
          <p:nvPr/>
        </p:nvGrpSpPr>
        <p:grpSpPr>
          <a:xfrm>
            <a:off x="4054329" y="1978061"/>
            <a:ext cx="2368072" cy="1042039"/>
            <a:chOff x="1358223" y="3001022"/>
            <a:chExt cx="2368072" cy="1042039"/>
          </a:xfrm>
        </p:grpSpPr>
        <p:grpSp>
          <p:nvGrpSpPr>
            <p:cNvPr id="168" name="Groep 167">
              <a:extLst>
                <a:ext uri="{FF2B5EF4-FFF2-40B4-BE49-F238E27FC236}">
                  <a16:creationId xmlns:a16="http://schemas.microsoft.com/office/drawing/2014/main" id="{99B0AD88-A127-6592-3951-4486E619E2E9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0" name="Rechthoek: afgeronde hoeken 169">
                <a:extLst>
                  <a:ext uri="{FF2B5EF4-FFF2-40B4-BE49-F238E27FC236}">
                    <a16:creationId xmlns:a16="http://schemas.microsoft.com/office/drawing/2014/main" id="{2DF55C1B-8FBE-1FEA-2CF3-738A5737B152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Wegnemen barrières, efficiëntere dienstverlening, wegnemen zorgen</a:t>
                </a: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D167D649-71D9-F954-E85E-73EE4BAF561A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72" name="Rechthoek: afgeronde hoeken 171">
                  <a:extLst>
                    <a:ext uri="{FF2B5EF4-FFF2-40B4-BE49-F238E27FC236}">
                      <a16:creationId xmlns:a16="http://schemas.microsoft.com/office/drawing/2014/main" id="{1E255C15-E280-C462-91E3-07CC87E65777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Ovaal 172">
                  <a:extLst>
                    <a:ext uri="{FF2B5EF4-FFF2-40B4-BE49-F238E27FC236}">
                      <a16:creationId xmlns:a16="http://schemas.microsoft.com/office/drawing/2014/main" id="{3C61EE61-8E14-9858-0A39-D0436CB0C3B8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al 173">
                  <a:extLst>
                    <a:ext uri="{FF2B5EF4-FFF2-40B4-BE49-F238E27FC236}">
                      <a16:creationId xmlns:a16="http://schemas.microsoft.com/office/drawing/2014/main" id="{ABE2F6B8-81F5-18E2-0DBB-982792160430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Ovaal 174">
                  <a:extLst>
                    <a:ext uri="{FF2B5EF4-FFF2-40B4-BE49-F238E27FC236}">
                      <a16:creationId xmlns:a16="http://schemas.microsoft.com/office/drawing/2014/main" id="{FD611D1D-6339-F960-865D-4BAA29428925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9" name="Rechthoek: afgeronde hoeken 168">
              <a:extLst>
                <a:ext uri="{FF2B5EF4-FFF2-40B4-BE49-F238E27FC236}">
                  <a16:creationId xmlns:a16="http://schemas.microsoft.com/office/drawing/2014/main" id="{F857E26B-8F59-690B-E7E8-508046787F04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Valorisatie, IXA-GO</a:t>
              </a:r>
            </a:p>
          </p:txBody>
        </p:sp>
      </p:grpSp>
      <p:grpSp>
        <p:nvGrpSpPr>
          <p:cNvPr id="176" name="Groep 175">
            <a:extLst>
              <a:ext uri="{FF2B5EF4-FFF2-40B4-BE49-F238E27FC236}">
                <a16:creationId xmlns:a16="http://schemas.microsoft.com/office/drawing/2014/main" id="{DF0D99A8-55E2-48FA-F59B-79D6AE1DE804}"/>
              </a:ext>
            </a:extLst>
          </p:cNvPr>
          <p:cNvGrpSpPr/>
          <p:nvPr/>
        </p:nvGrpSpPr>
        <p:grpSpPr>
          <a:xfrm>
            <a:off x="4051859" y="3148861"/>
            <a:ext cx="2421854" cy="1297357"/>
            <a:chOff x="1358223" y="2994963"/>
            <a:chExt cx="2421854" cy="1297357"/>
          </a:xfrm>
        </p:grpSpPr>
        <p:grpSp>
          <p:nvGrpSpPr>
            <p:cNvPr id="177" name="Groep 176">
              <a:extLst>
                <a:ext uri="{FF2B5EF4-FFF2-40B4-BE49-F238E27FC236}">
                  <a16:creationId xmlns:a16="http://schemas.microsoft.com/office/drawing/2014/main" id="{F58DA1D7-F478-BD84-D5BE-0734A6DC36A4}"/>
                </a:ext>
              </a:extLst>
            </p:cNvPr>
            <p:cNvGrpSpPr/>
            <p:nvPr/>
          </p:nvGrpSpPr>
          <p:grpSpPr>
            <a:xfrm>
              <a:off x="1358224" y="2994963"/>
              <a:ext cx="2401529" cy="911704"/>
              <a:chOff x="2853153" y="3212691"/>
              <a:chExt cx="2401529" cy="911704"/>
            </a:xfrm>
          </p:grpSpPr>
          <p:sp>
            <p:nvSpPr>
              <p:cNvPr id="179" name="Rechthoek: afgeronde hoeken 178">
                <a:extLst>
                  <a:ext uri="{FF2B5EF4-FFF2-40B4-BE49-F238E27FC236}">
                    <a16:creationId xmlns:a16="http://schemas.microsoft.com/office/drawing/2014/main" id="{D2D30337-95E3-AAAF-670A-08720462D9C9}"/>
                  </a:ext>
                </a:extLst>
              </p:cNvPr>
              <p:cNvSpPr/>
              <p:nvPr/>
            </p:nvSpPr>
            <p:spPr>
              <a:xfrm>
                <a:off x="2853153" y="3218749"/>
                <a:ext cx="2024836" cy="882387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endParaRPr lang="nl-NL" sz="900" dirty="0">
                  <a:solidFill>
                    <a:schemeClr val="tx1"/>
                  </a:solidFill>
                </a:endParaRPr>
              </a:p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</a:rPr>
                  <a:t>Actief ontwikkelen publiek-private samenwerking &amp; financiering:</a:t>
                </a:r>
              </a:p>
              <a:p>
                <a:pPr marL="171450" indent="-171450">
                  <a:buFontTx/>
                  <a:buChar char="-"/>
                  <a:defRPr/>
                </a:pPr>
                <a:r>
                  <a:rPr lang="nl-NL" sz="900" dirty="0">
                    <a:solidFill>
                      <a:schemeClr val="tx1"/>
                    </a:solidFill>
                  </a:rPr>
                  <a:t>Ondersteuning bij 2</a:t>
                </a:r>
                <a:r>
                  <a:rPr lang="nl-NL" sz="900" baseline="30000" dirty="0">
                    <a:solidFill>
                      <a:schemeClr val="tx1"/>
                    </a:solidFill>
                  </a:rPr>
                  <a:t>e</a:t>
                </a:r>
                <a:r>
                  <a:rPr lang="nl-NL" sz="900" dirty="0">
                    <a:solidFill>
                      <a:schemeClr val="tx1"/>
                    </a:solidFill>
                  </a:rPr>
                  <a:t>/3</a:t>
                </a:r>
                <a:r>
                  <a:rPr lang="nl-NL" sz="900" baseline="30000" dirty="0">
                    <a:solidFill>
                      <a:schemeClr val="tx1"/>
                    </a:solidFill>
                  </a:rPr>
                  <a:t>e</a:t>
                </a:r>
                <a:r>
                  <a:rPr lang="nl-NL" sz="900" dirty="0">
                    <a:solidFill>
                      <a:schemeClr val="tx1"/>
                    </a:solidFill>
                  </a:rPr>
                  <a:t> GS aanvragen</a:t>
                </a:r>
              </a:p>
              <a:p>
                <a:pPr marL="171450" indent="-171450">
                  <a:buFontTx/>
                  <a:buChar char="-"/>
                  <a:defRPr/>
                </a:pPr>
                <a:r>
                  <a:rPr lang="nl-NL" sz="900" dirty="0">
                    <a:solidFill>
                      <a:schemeClr val="tx1"/>
                    </a:solidFill>
                  </a:rPr>
                  <a:t>Actieve partnerontwikkeling per afdeling </a:t>
                </a:r>
              </a:p>
              <a:p>
                <a:pPr marL="171450" indent="-171450">
                  <a:buFontTx/>
                  <a:buChar char="-"/>
                  <a:defRPr/>
                </a:pPr>
                <a:endParaRPr lang="nl-NL" sz="9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0" name="Groep 179">
                <a:extLst>
                  <a:ext uri="{FF2B5EF4-FFF2-40B4-BE49-F238E27FC236}">
                    <a16:creationId xmlns:a16="http://schemas.microsoft.com/office/drawing/2014/main" id="{C65C403C-2875-327E-AF0A-E35D1FBA95BD}"/>
                  </a:ext>
                </a:extLst>
              </p:cNvPr>
              <p:cNvGrpSpPr/>
              <p:nvPr/>
            </p:nvGrpSpPr>
            <p:grpSpPr>
              <a:xfrm>
                <a:off x="4851171" y="3212691"/>
                <a:ext cx="403511" cy="911704"/>
                <a:chOff x="4896891" y="3212691"/>
                <a:chExt cx="403511" cy="911704"/>
              </a:xfrm>
            </p:grpSpPr>
            <p:sp>
              <p:nvSpPr>
                <p:cNvPr id="181" name="Rechthoek: afgeronde hoeken 180">
                  <a:extLst>
                    <a:ext uri="{FF2B5EF4-FFF2-40B4-BE49-F238E27FC236}">
                      <a16:creationId xmlns:a16="http://schemas.microsoft.com/office/drawing/2014/main" id="{DB214550-E352-A09B-1611-B2B9AD06AB93}"/>
                    </a:ext>
                  </a:extLst>
                </p:cNvPr>
                <p:cNvSpPr/>
                <p:nvPr/>
              </p:nvSpPr>
              <p:spPr>
                <a:xfrm>
                  <a:off x="4896891" y="3212691"/>
                  <a:ext cx="403511" cy="911704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Ovaal 181">
                  <a:extLst>
                    <a:ext uri="{FF2B5EF4-FFF2-40B4-BE49-F238E27FC236}">
                      <a16:creationId xmlns:a16="http://schemas.microsoft.com/office/drawing/2014/main" id="{5ACB7C8C-135B-9524-B547-C82534E42F5D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Ovaal 182">
                  <a:extLst>
                    <a:ext uri="{FF2B5EF4-FFF2-40B4-BE49-F238E27FC236}">
                      <a16:creationId xmlns:a16="http://schemas.microsoft.com/office/drawing/2014/main" id="{885F399B-A976-EE04-ED84-7B7F4BC64028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al 183">
                  <a:extLst>
                    <a:ext uri="{FF2B5EF4-FFF2-40B4-BE49-F238E27FC236}">
                      <a16:creationId xmlns:a16="http://schemas.microsoft.com/office/drawing/2014/main" id="{D2362FB6-33F9-A6B3-28EF-14BB25351692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Rechthoek: afgeronde hoeken 177">
              <a:extLst>
                <a:ext uri="{FF2B5EF4-FFF2-40B4-BE49-F238E27FC236}">
                  <a16:creationId xmlns:a16="http://schemas.microsoft.com/office/drawing/2014/main" id="{2E486A43-A4B2-C96E-81B9-A973FBA6A548}"/>
                </a:ext>
              </a:extLst>
            </p:cNvPr>
            <p:cNvSpPr/>
            <p:nvPr/>
          </p:nvSpPr>
          <p:spPr>
            <a:xfrm>
              <a:off x="1358223" y="3883408"/>
              <a:ext cx="2421854" cy="408912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hd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Valorisatie i.s.m. IXA-GO &amp;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Onderzoek</a:t>
              </a:r>
            </a:p>
          </p:txBody>
        </p:sp>
      </p:grpSp>
      <p:grpSp>
        <p:nvGrpSpPr>
          <p:cNvPr id="185" name="Groep 184">
            <a:extLst>
              <a:ext uri="{FF2B5EF4-FFF2-40B4-BE49-F238E27FC236}">
                <a16:creationId xmlns:a16="http://schemas.microsoft.com/office/drawing/2014/main" id="{9234F38E-93F2-F762-30A4-A26BE6A9C42B}"/>
              </a:ext>
            </a:extLst>
          </p:cNvPr>
          <p:cNvGrpSpPr/>
          <p:nvPr/>
        </p:nvGrpSpPr>
        <p:grpSpPr>
          <a:xfrm>
            <a:off x="6706007" y="1978061"/>
            <a:ext cx="2368072" cy="1042039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F6A33E2F-D4DB-5588-62E0-8F79480C757E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0ACA9235-AAFE-861C-5723-FBA1E8615B7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Externe zichtbaarheid van onderzoekslijnen vergroten </a:t>
                </a: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1099498-046D-22A4-45FC-EBCACF664250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FF957789-DB47-A5E4-244A-6C2136E2D64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A2E2E6D4-2FF0-9BA4-7539-87031A40A338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A8E9A379-87DF-5949-9E56-CF826DDC62E5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12175376-45EB-9D30-4FFD-F76AD902C2B1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94DD0308-EF8A-6434-49B0-07D4A97F4954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Valorisatie, </a:t>
              </a:r>
              <a:r>
                <a:rPr lang="nl-NL" sz="800" dirty="0" err="1">
                  <a:solidFill>
                    <a:schemeClr val="tx1"/>
                  </a:solidFill>
                  <a:latin typeface="Aptos" panose="02110004020202020204"/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 Onderzoek, IXA-GO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21AE9225-F013-425F-0DB6-662A2BA178A0}"/>
              </a:ext>
            </a:extLst>
          </p:cNvPr>
          <p:cNvGrpSpPr/>
          <p:nvPr/>
        </p:nvGrpSpPr>
        <p:grpSpPr>
          <a:xfrm>
            <a:off x="6737404" y="3154920"/>
            <a:ext cx="2368069" cy="1042039"/>
            <a:chOff x="1392090" y="3001022"/>
            <a:chExt cx="2368069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5AA980EB-CE5B-C31A-BF3D-E2838680E218}"/>
                </a:ext>
              </a:extLst>
            </p:cNvPr>
            <p:cNvGrpSpPr/>
            <p:nvPr/>
          </p:nvGrpSpPr>
          <p:grpSpPr>
            <a:xfrm>
              <a:off x="1399760" y="3001022"/>
              <a:ext cx="2326535" cy="826469"/>
              <a:chOff x="2894689" y="3218750"/>
              <a:chExt cx="2326535" cy="826469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E24291BD-7B0C-905F-47E4-699D8B01B94D}"/>
                  </a:ext>
                </a:extLst>
              </p:cNvPr>
              <p:cNvSpPr/>
              <p:nvPr/>
            </p:nvSpPr>
            <p:spPr>
              <a:xfrm>
                <a:off x="2894689" y="3239661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>
                  <a:defRPr/>
                </a:pPr>
                <a:r>
                  <a:rPr lang="nl-NL" sz="900" dirty="0">
                    <a:solidFill>
                      <a:schemeClr val="tx1"/>
                    </a:solidFill>
                    <a:latin typeface="Aptos" panose="02110004020202020204"/>
                  </a:rPr>
                  <a:t>Externe partners kunnen beter de onderzoekers en faciliteiten vinden </a:t>
                </a: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8B8BD0A1-1613-7805-8797-528B8417C8E4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B3ABB9E4-D712-0737-0314-15853FB17615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1659E777-1DE4-A45C-E167-C370E6E21720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E9B4B425-0B56-50D8-F670-7F5548512E84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B916D862-D6E8-BB34-CD45-7D9A917F7024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1967E5E8-8A16-867F-FDF6-0134647A1F48}"/>
                </a:ext>
              </a:extLst>
            </p:cNvPr>
            <p:cNvSpPr/>
            <p:nvPr/>
          </p:nvSpPr>
          <p:spPr>
            <a:xfrm>
              <a:off x="1392090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 dirty="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  <a:r>
                <a:rPr lang="nl-NL" sz="800" dirty="0">
                  <a:solidFill>
                    <a:schemeClr val="tx1"/>
                  </a:solidFill>
                </a:rPr>
                <a:t> </a:t>
              </a:r>
              <a:r>
                <a:rPr lang="nl-NL" sz="800" dirty="0" err="1">
                  <a:solidFill>
                    <a:schemeClr val="tx1"/>
                  </a:solidFill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</a:rPr>
                <a:t> Valorisatie, </a:t>
              </a:r>
              <a:r>
                <a:rPr lang="nl-NL" sz="800" dirty="0" err="1">
                  <a:solidFill>
                    <a:schemeClr val="tx1"/>
                  </a:solidFill>
                </a:rPr>
                <a:t>Pfh</a:t>
              </a:r>
              <a:r>
                <a:rPr lang="nl-NL" sz="800" dirty="0">
                  <a:solidFill>
                    <a:schemeClr val="tx1"/>
                  </a:solidFill>
                </a:rPr>
                <a:t> Onderzoek</a:t>
              </a:r>
              <a:endParaRPr lang="nl-NL" sz="800" dirty="0">
                <a:solidFill>
                  <a:schemeClr val="tx1"/>
                </a:solidFill>
                <a:latin typeface="Aptos" panose="02110004020202020204"/>
              </a:endParaRP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725AF1C5-CE60-0417-7D5E-5AEFEAE637F5}"/>
              </a:ext>
            </a:extLst>
          </p:cNvPr>
          <p:cNvGrpSpPr/>
          <p:nvPr/>
        </p:nvGrpSpPr>
        <p:grpSpPr>
          <a:xfrm>
            <a:off x="9377654" y="1978418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7D906401-7E74-E4EA-F8DB-03E67A954716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9A09A757-DB0F-09C7-3F22-3DCB6E237B09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A5934AAE-9736-2B0C-36E0-CFE39E9F5A90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2F4EEEB1-AAEA-4EC7-D98F-803A26A08B8D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FAA8F54F-46F8-D6E0-2B8B-FC8BD5E29EF0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F1248151-3AF1-532B-0661-CD79B180A379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C0AD7EFD-4C93-1703-C480-856943F5D647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3C7B66D4-57A2-47CC-864D-506C21F5AAA9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595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EFE02-6020-380A-314D-E703E88B7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92A815B2-4985-4450-43AA-6FAC4BFA8F95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77D1B8B5-95B2-AF4B-30C7-64050343476C}"/>
              </a:ext>
            </a:extLst>
          </p:cNvPr>
          <p:cNvSpPr/>
          <p:nvPr/>
        </p:nvSpPr>
        <p:spPr>
          <a:xfrm>
            <a:off x="1329092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Implementatie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E&amp;W </a:t>
            </a:r>
            <a:r>
              <a:rPr lang="en-US" sz="1200" b="1" err="1">
                <a:solidFill>
                  <a:srgbClr val="FFFFFF"/>
                </a:solidFill>
                <a:latin typeface="Aptos" panose="02110004020202020204"/>
              </a:rPr>
              <a:t>focust</a:t>
            </a:r>
            <a:r>
              <a:rPr lang="en-US" sz="1200" b="1">
                <a:solidFill>
                  <a:srgbClr val="FFFFFF"/>
                </a:solidFill>
                <a:latin typeface="Aptos" panose="02110004020202020204"/>
              </a:rPr>
              <a:t> op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teamsamenwerking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en talent op de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juiste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plek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1" name="Pijl: vijfhoek 10">
            <a:extLst>
              <a:ext uri="{FF2B5EF4-FFF2-40B4-BE49-F238E27FC236}">
                <a16:creationId xmlns:a16="http://schemas.microsoft.com/office/drawing/2014/main" id="{B3BF20B0-6BAA-AC14-3723-3E377F0AAE76}"/>
              </a:ext>
            </a:extLst>
          </p:cNvPr>
          <p:cNvSpPr/>
          <p:nvPr/>
        </p:nvSpPr>
        <p:spPr>
          <a:xfrm>
            <a:off x="142607" y="5462286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1413F6BE-FCF7-F088-127F-6C43BCCA90B5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ED06E5A5-029D-E019-7D03-21AAC69C8A86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ED7A0164-F08A-D796-692C-4B659480D807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BETA 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751B0E32-A72D-F11E-9FD2-7942AFEBB7D1}"/>
              </a:ext>
            </a:extLst>
          </p:cNvPr>
          <p:cNvSpPr/>
          <p:nvPr/>
        </p:nvSpPr>
        <p:spPr>
          <a:xfrm>
            <a:off x="1976444" y="35363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Mens &amp; Organisatie 1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DF910B41-BB3D-E401-C42D-D7D3A7C93AC1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DBV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C1E17DA8-85EC-5FDC-8591-DD4FC7C125EB}"/>
              </a:ext>
            </a:extLst>
          </p:cNvPr>
          <p:cNvSpPr/>
          <p:nvPr/>
        </p:nvSpPr>
        <p:spPr>
          <a:xfrm>
            <a:off x="5667207" y="94006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2027-2030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CD7E69AC-718C-891F-6287-552539B3C2EF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11" name="Pijl: vijfhoek 110">
            <a:extLst>
              <a:ext uri="{FF2B5EF4-FFF2-40B4-BE49-F238E27FC236}">
                <a16:creationId xmlns:a16="http://schemas.microsoft.com/office/drawing/2014/main" id="{0C2BFB8E-0E1E-5B78-BD9C-75DE15194F67}"/>
              </a:ext>
            </a:extLst>
          </p:cNvPr>
          <p:cNvSpPr/>
          <p:nvPr/>
        </p:nvSpPr>
        <p:spPr>
          <a:xfrm>
            <a:off x="137394" y="1930577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2100C1DA-F69D-F66C-BEEA-35853AE13705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00D4A6E6-7AEC-4BE9-A0E9-0C478E34E3CA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68545354-EAEA-4791-3599-2A530FFB73B7}"/>
              </a:ext>
            </a:extLst>
          </p:cNvPr>
          <p:cNvSpPr/>
          <p:nvPr/>
        </p:nvSpPr>
        <p:spPr>
          <a:xfrm>
            <a:off x="4027396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Bedrijfsvoering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focust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op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integrale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dienstverlening</a:t>
            </a:r>
            <a:r>
              <a:rPr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 en </a:t>
            </a:r>
            <a:r>
              <a:rPr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</a:rPr>
              <a:t>eigenaarschap</a:t>
            </a:r>
            <a:r>
              <a:rPr lang="en-US" sz="1200" b="1">
                <a:solidFill>
                  <a:srgbClr val="FFFFFF"/>
                </a:solidFill>
                <a:latin typeface="Aptos" panose="02110004020202020204"/>
              </a:rPr>
              <a:t> 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6DD6B691-BA93-4608-9D75-B7EBFDF8D5A1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262B3DFE-3B87-C00C-028C-C3E4B5DD1644}"/>
              </a:ext>
            </a:extLst>
          </p:cNvPr>
          <p:cNvSpPr/>
          <p:nvPr/>
        </p:nvSpPr>
        <p:spPr>
          <a:xfrm>
            <a:off x="6702525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en-US" sz="1200" b="1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200" b="1" err="1">
                <a:solidFill>
                  <a:srgbClr val="FFFFFF"/>
                </a:solidFill>
              </a:rPr>
              <a:t>Digitale</a:t>
            </a:r>
            <a:r>
              <a:rPr lang="en-US" sz="1200" b="1">
                <a:solidFill>
                  <a:srgbClr val="FFFFFF"/>
                </a:solidFill>
              </a:rPr>
              <a:t> </a:t>
            </a:r>
            <a:r>
              <a:rPr lang="en-US" sz="1200" b="1" err="1">
                <a:solidFill>
                  <a:srgbClr val="FFFFFF"/>
                </a:solidFill>
              </a:rPr>
              <a:t>technologie</a:t>
            </a:r>
            <a:r>
              <a:rPr lang="en-US" sz="1200" b="1">
                <a:solidFill>
                  <a:srgbClr val="FFFFFF"/>
                </a:solidFill>
              </a:rPr>
              <a:t> (AI) </a:t>
            </a:r>
            <a:r>
              <a:rPr lang="en-US" sz="1200" b="1" err="1">
                <a:solidFill>
                  <a:srgbClr val="FFFFFF"/>
                </a:solidFill>
              </a:rPr>
              <a:t>fungeert</a:t>
            </a:r>
            <a:r>
              <a:rPr lang="en-US" sz="1200" b="1">
                <a:solidFill>
                  <a:srgbClr val="FFFFFF"/>
                </a:solidFill>
              </a:rPr>
              <a:t> </a:t>
            </a:r>
            <a:r>
              <a:rPr lang="en-US" sz="1200" b="1" err="1">
                <a:solidFill>
                  <a:srgbClr val="FFFFFF"/>
                </a:solidFill>
              </a:rPr>
              <a:t>als</a:t>
            </a:r>
            <a:r>
              <a:rPr lang="en-US" sz="1200" b="1">
                <a:solidFill>
                  <a:srgbClr val="FFFFFF"/>
                </a:solidFill>
              </a:rPr>
              <a:t> </a:t>
            </a:r>
            <a:r>
              <a:rPr lang="en-US" sz="1200" b="1" err="1">
                <a:solidFill>
                  <a:srgbClr val="FFFFFF"/>
                </a:solidFill>
              </a:rPr>
              <a:t>impuls</a:t>
            </a:r>
            <a:r>
              <a:rPr lang="en-US" sz="1200" b="1">
                <a:solidFill>
                  <a:srgbClr val="FFFFFF"/>
                </a:solidFill>
              </a:rPr>
              <a:t> </a:t>
            </a:r>
            <a:r>
              <a:rPr lang="en-US" sz="1200" b="1" err="1">
                <a:solidFill>
                  <a:srgbClr val="FFFFFF"/>
                </a:solidFill>
              </a:rPr>
              <a:t>voor</a:t>
            </a:r>
            <a:r>
              <a:rPr lang="en-US" sz="1200" b="1">
                <a:solidFill>
                  <a:srgbClr val="FFFFFF"/>
                </a:solidFill>
              </a:rPr>
              <a:t>  </a:t>
            </a:r>
            <a:r>
              <a:rPr lang="en-US" sz="1200" b="1" err="1">
                <a:solidFill>
                  <a:srgbClr val="FFFFFF"/>
                </a:solidFill>
              </a:rPr>
              <a:t>bedrijfsvoering</a:t>
            </a:r>
            <a:endParaRPr lang="nl-NL" sz="1200" b="1">
              <a:solidFill>
                <a:srgbClr val="FFFFFF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​​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6F965328-017D-A059-74FE-2086A3A2762E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15C58325-E26D-1FE2-0FE2-8FD29EC52697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98FD240C-B275-80A1-958D-6BFF0E872CAF}"/>
              </a:ext>
            </a:extLst>
          </p:cNvPr>
          <p:cNvGrpSpPr/>
          <p:nvPr/>
        </p:nvGrpSpPr>
        <p:grpSpPr>
          <a:xfrm>
            <a:off x="1334305" y="5409705"/>
            <a:ext cx="2416182" cy="890920"/>
            <a:chOff x="1329092" y="1590911"/>
            <a:chExt cx="2416182" cy="890920"/>
          </a:xfrm>
        </p:grpSpPr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460B8A53-33FC-2324-F258-F07ACF81548B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" name="Rechthoek: afgeronde hoeken 8">
                <a:extLst>
                  <a:ext uri="{FF2B5EF4-FFF2-40B4-BE49-F238E27FC236}">
                    <a16:creationId xmlns:a16="http://schemas.microsoft.com/office/drawing/2014/main" id="{660F8797-B3A6-8F4A-4435-4242B81E8EFD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hthoek: afgeronde hoeken 27">
                <a:extLst>
                  <a:ext uri="{FF2B5EF4-FFF2-40B4-BE49-F238E27FC236}">
                    <a16:creationId xmlns:a16="http://schemas.microsoft.com/office/drawing/2014/main" id="{48564DBC-E6DF-422C-C0AA-DEDFDF7A10F7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endParaRPr lang="nl-NL" sz="800" b="1" i="1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67" name="Tekstvak 66">
              <a:extLst>
                <a:ext uri="{FF2B5EF4-FFF2-40B4-BE49-F238E27FC236}">
                  <a16:creationId xmlns:a16="http://schemas.microsoft.com/office/drawing/2014/main" id="{2D634DFB-0402-B50B-0DBC-67357047A27C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id="{F1E12013-4803-C21A-806B-7ECD6D92B3B5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68" name="Rechthoek: afgeronde hoeken 67">
                <a:extLst>
                  <a:ext uri="{FF2B5EF4-FFF2-40B4-BE49-F238E27FC236}">
                    <a16:creationId xmlns:a16="http://schemas.microsoft.com/office/drawing/2014/main" id="{76BB3519-D00C-6590-D7DB-BA5A899797C0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hthoek: afgeronde hoeken 27">
                <a:extLst>
                  <a:ext uri="{FF2B5EF4-FFF2-40B4-BE49-F238E27FC236}">
                    <a16:creationId xmlns:a16="http://schemas.microsoft.com/office/drawing/2014/main" id="{569CA909-B783-E38F-EB50-BD34CE4BDEB3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75" name="Groep 74">
              <a:extLst>
                <a:ext uri="{FF2B5EF4-FFF2-40B4-BE49-F238E27FC236}">
                  <a16:creationId xmlns:a16="http://schemas.microsoft.com/office/drawing/2014/main" id="{AB4B7CA7-5BA3-B54D-1163-09034E9CDE67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76" name="Rechthoek: afgeronde hoeken 75">
                <a:extLst>
                  <a:ext uri="{FF2B5EF4-FFF2-40B4-BE49-F238E27FC236}">
                    <a16:creationId xmlns:a16="http://schemas.microsoft.com/office/drawing/2014/main" id="{677C92C6-F224-187F-A464-D585A06BEB1E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27">
                <a:extLst>
                  <a:ext uri="{FF2B5EF4-FFF2-40B4-BE49-F238E27FC236}">
                    <a16:creationId xmlns:a16="http://schemas.microsoft.com/office/drawing/2014/main" id="{F4F9BC6D-F9A8-4BC4-791A-5B15B601FA47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B1A12644-03AA-954C-8E15-44435D15F51A}"/>
              </a:ext>
            </a:extLst>
          </p:cNvPr>
          <p:cNvGrpSpPr/>
          <p:nvPr/>
        </p:nvGrpSpPr>
        <p:grpSpPr>
          <a:xfrm>
            <a:off x="4057143" y="5409705"/>
            <a:ext cx="2416182" cy="890920"/>
            <a:chOff x="1329092" y="1590911"/>
            <a:chExt cx="2416182" cy="890920"/>
          </a:xfrm>
        </p:grpSpPr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881497D1-F468-39E1-214E-5EC7CCD8100B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88" name="Rechthoek: afgeronde hoeken 87">
                <a:extLst>
                  <a:ext uri="{FF2B5EF4-FFF2-40B4-BE49-F238E27FC236}">
                    <a16:creationId xmlns:a16="http://schemas.microsoft.com/office/drawing/2014/main" id="{ADF81A98-BD83-CB43-7B67-1A0C135ACE22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hoek: afgeronde hoeken 27">
                <a:extLst>
                  <a:ext uri="{FF2B5EF4-FFF2-40B4-BE49-F238E27FC236}">
                    <a16:creationId xmlns:a16="http://schemas.microsoft.com/office/drawing/2014/main" id="{F0121F31-7AC2-39FF-2ACC-BCDA3A26DBDE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481DAB02-F312-BC13-1A80-1CF9E8D28A88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82" name="Groep 81">
              <a:extLst>
                <a:ext uri="{FF2B5EF4-FFF2-40B4-BE49-F238E27FC236}">
                  <a16:creationId xmlns:a16="http://schemas.microsoft.com/office/drawing/2014/main" id="{986B112A-5112-08A6-425B-F6416BB8946F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86" name="Rechthoek: afgeronde hoeken 85">
                <a:extLst>
                  <a:ext uri="{FF2B5EF4-FFF2-40B4-BE49-F238E27FC236}">
                    <a16:creationId xmlns:a16="http://schemas.microsoft.com/office/drawing/2014/main" id="{A0A67FD0-2D70-5283-C298-B70E2692F162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hoek: afgeronde hoeken 27">
                <a:extLst>
                  <a:ext uri="{FF2B5EF4-FFF2-40B4-BE49-F238E27FC236}">
                    <a16:creationId xmlns:a16="http://schemas.microsoft.com/office/drawing/2014/main" id="{C289DFD2-3033-CB26-14DD-D4CED4FA979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83" name="Groep 82">
              <a:extLst>
                <a:ext uri="{FF2B5EF4-FFF2-40B4-BE49-F238E27FC236}">
                  <a16:creationId xmlns:a16="http://schemas.microsoft.com/office/drawing/2014/main" id="{9CE3BDB5-7A06-0CE1-820B-F7AB1B7E6F5C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84" name="Rechthoek: afgeronde hoeken 83">
                <a:extLst>
                  <a:ext uri="{FF2B5EF4-FFF2-40B4-BE49-F238E27FC236}">
                    <a16:creationId xmlns:a16="http://schemas.microsoft.com/office/drawing/2014/main" id="{4E022022-94C1-748B-9E41-70BA1EA308C8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hoek: afgeronde hoeken 27">
                <a:extLst>
                  <a:ext uri="{FF2B5EF4-FFF2-40B4-BE49-F238E27FC236}">
                    <a16:creationId xmlns:a16="http://schemas.microsoft.com/office/drawing/2014/main" id="{3F96A9FD-0B86-4555-3E5E-B8EC0E542E9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90" name="Groep 89">
            <a:extLst>
              <a:ext uri="{FF2B5EF4-FFF2-40B4-BE49-F238E27FC236}">
                <a16:creationId xmlns:a16="http://schemas.microsoft.com/office/drawing/2014/main" id="{5D716195-B4C9-732B-3C13-A3C551648120}"/>
              </a:ext>
            </a:extLst>
          </p:cNvPr>
          <p:cNvGrpSpPr/>
          <p:nvPr/>
        </p:nvGrpSpPr>
        <p:grpSpPr>
          <a:xfrm>
            <a:off x="6709844" y="5409705"/>
            <a:ext cx="2416182" cy="890920"/>
            <a:chOff x="1329092" y="1590911"/>
            <a:chExt cx="2416182" cy="890920"/>
          </a:xfrm>
        </p:grpSpPr>
        <p:grpSp>
          <p:nvGrpSpPr>
            <p:cNvPr id="91" name="Groep 90">
              <a:extLst>
                <a:ext uri="{FF2B5EF4-FFF2-40B4-BE49-F238E27FC236}">
                  <a16:creationId xmlns:a16="http://schemas.microsoft.com/office/drawing/2014/main" id="{67F3A6F8-6819-F792-EB3D-6BE6EC517D26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9" name="Rechthoek: afgeronde hoeken 98">
                <a:extLst>
                  <a:ext uri="{FF2B5EF4-FFF2-40B4-BE49-F238E27FC236}">
                    <a16:creationId xmlns:a16="http://schemas.microsoft.com/office/drawing/2014/main" id="{A446BA7C-2967-C13F-3CEE-7F74104D6333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hthoek: afgeronde hoeken 27">
                <a:extLst>
                  <a:ext uri="{FF2B5EF4-FFF2-40B4-BE49-F238E27FC236}">
                    <a16:creationId xmlns:a16="http://schemas.microsoft.com/office/drawing/2014/main" id="{AE677946-AB01-95FC-FCF3-1E63C57FC71D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92" name="Tekstvak 91">
              <a:extLst>
                <a:ext uri="{FF2B5EF4-FFF2-40B4-BE49-F238E27FC236}">
                  <a16:creationId xmlns:a16="http://schemas.microsoft.com/office/drawing/2014/main" id="{D9A93C6B-23F5-B09D-BBFB-2E874C56878E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9355C7BD-E90A-E17D-AAED-70920F44B7EC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97" name="Rechthoek: afgeronde hoeken 96">
                <a:extLst>
                  <a:ext uri="{FF2B5EF4-FFF2-40B4-BE49-F238E27FC236}">
                    <a16:creationId xmlns:a16="http://schemas.microsoft.com/office/drawing/2014/main" id="{97FA7F07-546D-EF28-2F02-642E2631C36A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hthoek: afgeronde hoeken 27">
                <a:extLst>
                  <a:ext uri="{FF2B5EF4-FFF2-40B4-BE49-F238E27FC236}">
                    <a16:creationId xmlns:a16="http://schemas.microsoft.com/office/drawing/2014/main" id="{DD7DE1B6-22EF-1F8E-7999-AD947961BF82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64D13C0B-057F-74DB-BB26-F7C18231EA0F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95" name="Rechthoek: afgeronde hoeken 94">
                <a:extLst>
                  <a:ext uri="{FF2B5EF4-FFF2-40B4-BE49-F238E27FC236}">
                    <a16:creationId xmlns:a16="http://schemas.microsoft.com/office/drawing/2014/main" id="{EFE0935C-1312-2738-877B-CF193CE0815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hthoek: afgeronde hoeken 27">
                <a:extLst>
                  <a:ext uri="{FF2B5EF4-FFF2-40B4-BE49-F238E27FC236}">
                    <a16:creationId xmlns:a16="http://schemas.microsoft.com/office/drawing/2014/main" id="{C1E7112E-2DD6-2372-E401-8928A14A3C3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id="{C0043695-B84C-F9F9-6D6E-9DA4E74ACB2C}"/>
              </a:ext>
            </a:extLst>
          </p:cNvPr>
          <p:cNvGrpSpPr/>
          <p:nvPr/>
        </p:nvGrpSpPr>
        <p:grpSpPr>
          <a:xfrm>
            <a:off x="9387333" y="5409705"/>
            <a:ext cx="2416182" cy="890920"/>
            <a:chOff x="1329092" y="1590911"/>
            <a:chExt cx="2416182" cy="890920"/>
          </a:xfrm>
        </p:grpSpPr>
        <p:grpSp>
          <p:nvGrpSpPr>
            <p:cNvPr id="103" name="Groep 102">
              <a:extLst>
                <a:ext uri="{FF2B5EF4-FFF2-40B4-BE49-F238E27FC236}">
                  <a16:creationId xmlns:a16="http://schemas.microsoft.com/office/drawing/2014/main" id="{89D9FC0B-C801-EB00-6116-429F43C509C7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24" name="Rechthoek: afgeronde hoeken 123">
                <a:extLst>
                  <a:ext uri="{FF2B5EF4-FFF2-40B4-BE49-F238E27FC236}">
                    <a16:creationId xmlns:a16="http://schemas.microsoft.com/office/drawing/2014/main" id="{C32270D6-A470-77A8-0156-67D799736F66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hthoek: afgeronde hoeken 27">
                <a:extLst>
                  <a:ext uri="{FF2B5EF4-FFF2-40B4-BE49-F238E27FC236}">
                    <a16:creationId xmlns:a16="http://schemas.microsoft.com/office/drawing/2014/main" id="{FFCD443D-8393-57FF-6C60-A2B4C22FF777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…]</a:t>
                </a:r>
              </a:p>
            </p:txBody>
          </p:sp>
        </p:grpSp>
        <p:sp>
          <p:nvSpPr>
            <p:cNvPr id="112" name="Tekstvak 111">
              <a:extLst>
                <a:ext uri="{FF2B5EF4-FFF2-40B4-BE49-F238E27FC236}">
                  <a16:creationId xmlns:a16="http://schemas.microsoft.com/office/drawing/2014/main" id="{1CD227C1-46D3-D6FB-1BCE-68497F34392A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C37D323E-79E6-42A9-79FB-FA4C93362092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122" name="Rechthoek: afgeronde hoeken 121">
                <a:extLst>
                  <a:ext uri="{FF2B5EF4-FFF2-40B4-BE49-F238E27FC236}">
                    <a16:creationId xmlns:a16="http://schemas.microsoft.com/office/drawing/2014/main" id="{B6A689F3-66F1-D8E8-29A1-69C17C804B72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hthoek: afgeronde hoeken 27">
                <a:extLst>
                  <a:ext uri="{FF2B5EF4-FFF2-40B4-BE49-F238E27FC236}">
                    <a16:creationId xmlns:a16="http://schemas.microsoft.com/office/drawing/2014/main" id="{BFC24C2D-BEC2-BD15-E873-080D438BA635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78233F2C-4112-BDCD-38D1-D8BE56EA7DE7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116" name="Rechthoek: afgeronde hoeken 115">
                <a:extLst>
                  <a:ext uri="{FF2B5EF4-FFF2-40B4-BE49-F238E27FC236}">
                    <a16:creationId xmlns:a16="http://schemas.microsoft.com/office/drawing/2014/main" id="{BCBD7682-7910-C7DC-7F39-3C29C0539C24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27">
                <a:extLst>
                  <a:ext uri="{FF2B5EF4-FFF2-40B4-BE49-F238E27FC236}">
                    <a16:creationId xmlns:a16="http://schemas.microsoft.com/office/drawing/2014/main" id="{B4C64A9B-541A-0ADB-5FD8-C988A4EF20BB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5E413C6D-F315-6F81-A7CF-53324DD9E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68C5278C-5162-9C87-9D50-7BBD92A60D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D9EDC3CD-5ACA-6389-F622-51773DA849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BE1B51A2-1788-7A53-FA02-D43A755FD6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grpSp>
        <p:nvGrpSpPr>
          <p:cNvPr id="153" name="Groep 152">
            <a:extLst>
              <a:ext uri="{FF2B5EF4-FFF2-40B4-BE49-F238E27FC236}">
                <a16:creationId xmlns:a16="http://schemas.microsoft.com/office/drawing/2014/main" id="{54C4A0A1-574F-136F-16EA-E0DA748E244C}"/>
              </a:ext>
            </a:extLst>
          </p:cNvPr>
          <p:cNvGrpSpPr/>
          <p:nvPr/>
        </p:nvGrpSpPr>
        <p:grpSpPr>
          <a:xfrm>
            <a:off x="1358223" y="1930577"/>
            <a:ext cx="2368072" cy="1042039"/>
            <a:chOff x="1358223" y="3001022"/>
            <a:chExt cx="2368072" cy="1042039"/>
          </a:xfrm>
        </p:grpSpPr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EC41AAAC-09D5-3C1B-3456-39B73E05564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094385FD-3857-0E6E-F820-AA0CF51E3D7B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Verdieping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E&amp;W m.b.t.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teamsamenwerking</a:t>
                </a:r>
                <a:endParaRPr lang="nl-NL" sz="1100" dirty="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8288D417-EFB1-5DA2-8C74-A2E68C966D93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8" name="Rechthoek: afgeronde hoeken 27">
                  <a:extLst>
                    <a:ext uri="{FF2B5EF4-FFF2-40B4-BE49-F238E27FC236}">
                      <a16:creationId xmlns:a16="http://schemas.microsoft.com/office/drawing/2014/main" id="{1774E427-9E16-AB1A-D202-28500F089016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al 21">
                  <a:extLst>
                    <a:ext uri="{FF2B5EF4-FFF2-40B4-BE49-F238E27FC236}">
                      <a16:creationId xmlns:a16="http://schemas.microsoft.com/office/drawing/2014/main" id="{B950F41D-D469-F121-7381-9BE0E896681E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al 22">
                  <a:extLst>
                    <a:ext uri="{FF2B5EF4-FFF2-40B4-BE49-F238E27FC236}">
                      <a16:creationId xmlns:a16="http://schemas.microsoft.com/office/drawing/2014/main" id="{FAF043AE-8684-F4B5-6AE4-4BE369F61AC3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23">
                  <a:extLst>
                    <a:ext uri="{FF2B5EF4-FFF2-40B4-BE49-F238E27FC236}">
                      <a16:creationId xmlns:a16="http://schemas.microsoft.com/office/drawing/2014/main" id="{79327649-EF60-B231-76CA-AAEAF26FE9E7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6" name="Rechthoek: afgeronde hoeken 135">
              <a:extLst>
                <a:ext uri="{FF2B5EF4-FFF2-40B4-BE49-F238E27FC236}">
                  <a16:creationId xmlns:a16="http://schemas.microsoft.com/office/drawing/2014/main" id="{EF22D225-6FA9-142B-89E0-2E3C8977FBC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HRM</a:t>
              </a:r>
            </a:p>
          </p:txBody>
        </p:sp>
      </p:grpSp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629BB044-696C-462D-584C-516DABF2AA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pic>
        <p:nvPicPr>
          <p:cNvPr id="138" name="Graphic 137" descr="Studentenbaret bij afstuderen met effen opvulling">
            <a:extLst>
              <a:ext uri="{FF2B5EF4-FFF2-40B4-BE49-F238E27FC236}">
                <a16:creationId xmlns:a16="http://schemas.microsoft.com/office/drawing/2014/main" id="{A373489D-9FFD-6AAC-81BD-71A515A5D5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7396" y="891961"/>
            <a:ext cx="144000" cy="144000"/>
          </a:xfrm>
          <a:prstGeom prst="rect">
            <a:avLst/>
          </a:prstGeom>
        </p:spPr>
      </p:pic>
      <p:pic>
        <p:nvPicPr>
          <p:cNvPr id="139" name="Graphic 138" descr="Studentenbaret bij afstuderen met effen opvulling">
            <a:extLst>
              <a:ext uri="{FF2B5EF4-FFF2-40B4-BE49-F238E27FC236}">
                <a16:creationId xmlns:a16="http://schemas.microsoft.com/office/drawing/2014/main" id="{84CD95A0-0D18-A8D8-14F6-72C950B756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6569" y="907632"/>
            <a:ext cx="144000" cy="144000"/>
          </a:xfrm>
          <a:prstGeom prst="rect">
            <a:avLst/>
          </a:prstGeom>
        </p:spPr>
      </p:pic>
      <p:pic>
        <p:nvPicPr>
          <p:cNvPr id="140" name="Graphic 139" descr="Aspiratie met effen opvulling">
            <a:extLst>
              <a:ext uri="{FF2B5EF4-FFF2-40B4-BE49-F238E27FC236}">
                <a16:creationId xmlns:a16="http://schemas.microsoft.com/office/drawing/2014/main" id="{ABD6BFD8-460F-C0F9-C71D-7DCD5FB3C9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569" y="907632"/>
            <a:ext cx="144000" cy="144000"/>
          </a:xfrm>
          <a:prstGeom prst="rect">
            <a:avLst/>
          </a:prstGeom>
        </p:spPr>
      </p:pic>
      <p:grpSp>
        <p:nvGrpSpPr>
          <p:cNvPr id="154" name="Groep 153">
            <a:extLst>
              <a:ext uri="{FF2B5EF4-FFF2-40B4-BE49-F238E27FC236}">
                <a16:creationId xmlns:a16="http://schemas.microsoft.com/office/drawing/2014/main" id="{65ABFFF6-3839-CAD5-FA68-96045F5595EE}"/>
              </a:ext>
            </a:extLst>
          </p:cNvPr>
          <p:cNvGrpSpPr/>
          <p:nvPr/>
        </p:nvGrpSpPr>
        <p:grpSpPr>
          <a:xfrm>
            <a:off x="1355753" y="3107436"/>
            <a:ext cx="2368072" cy="1042039"/>
            <a:chOff x="1358223" y="3001022"/>
            <a:chExt cx="2368072" cy="1042039"/>
          </a:xfrm>
        </p:grpSpPr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C8C49677-54F4-5391-2787-7DDAC975C15F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57" name="Rechthoek: afgeronde hoeken 156">
                <a:extLst>
                  <a:ext uri="{FF2B5EF4-FFF2-40B4-BE49-F238E27FC236}">
                    <a16:creationId xmlns:a16="http://schemas.microsoft.com/office/drawing/2014/main" id="{AD006DCD-3D7A-7A54-8D5B-8975F056D7E5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 dirty="0">
                    <a:solidFill>
                      <a:schemeClr val="tx1"/>
                    </a:solidFill>
                    <a:latin typeface="Aptos" panose="02110004020202020204"/>
                  </a:rPr>
                  <a:t>​Loopbaanplanning en ondersteuning OBP</a:t>
                </a:r>
              </a:p>
            </p:txBody>
          </p:sp>
          <p:grpSp>
            <p:nvGrpSpPr>
              <p:cNvPr id="158" name="Groep 157">
                <a:extLst>
                  <a:ext uri="{FF2B5EF4-FFF2-40B4-BE49-F238E27FC236}">
                    <a16:creationId xmlns:a16="http://schemas.microsoft.com/office/drawing/2014/main" id="{5B7B737A-0940-3082-7502-0CBF09C63239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59" name="Rechthoek: afgeronde hoeken 158">
                  <a:extLst>
                    <a:ext uri="{FF2B5EF4-FFF2-40B4-BE49-F238E27FC236}">
                      <a16:creationId xmlns:a16="http://schemas.microsoft.com/office/drawing/2014/main" id="{B73ADBFF-830F-66D0-6F57-34F8F507AF2E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al 159">
                  <a:extLst>
                    <a:ext uri="{FF2B5EF4-FFF2-40B4-BE49-F238E27FC236}">
                      <a16:creationId xmlns:a16="http://schemas.microsoft.com/office/drawing/2014/main" id="{CC17C5D3-5F63-3F67-BCAB-4FE21401C806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Ovaal 160">
                  <a:extLst>
                    <a:ext uri="{FF2B5EF4-FFF2-40B4-BE49-F238E27FC236}">
                      <a16:creationId xmlns:a16="http://schemas.microsoft.com/office/drawing/2014/main" id="{FDADE035-78F9-563D-A78D-CEBE9A11CA83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al 161">
                  <a:extLst>
                    <a:ext uri="{FF2B5EF4-FFF2-40B4-BE49-F238E27FC236}">
                      <a16:creationId xmlns:a16="http://schemas.microsoft.com/office/drawing/2014/main" id="{2CA2E7EF-C5B9-A88A-FDE5-F9136B8C64C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6" name="Rechthoek: afgeronde hoeken 155">
              <a:extLst>
                <a:ext uri="{FF2B5EF4-FFF2-40B4-BE49-F238E27FC236}">
                  <a16:creationId xmlns:a16="http://schemas.microsoft.com/office/drawing/2014/main" id="{526E7FB6-4824-9798-8E0E-11C5CC360871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HRM</a:t>
              </a:r>
            </a:p>
          </p:txBody>
        </p:sp>
      </p:grpSp>
      <p:grpSp>
        <p:nvGrpSpPr>
          <p:cNvPr id="167" name="Groep 166">
            <a:extLst>
              <a:ext uri="{FF2B5EF4-FFF2-40B4-BE49-F238E27FC236}">
                <a16:creationId xmlns:a16="http://schemas.microsoft.com/office/drawing/2014/main" id="{33973B3D-7BD5-863C-0248-394B3B1AD9C6}"/>
              </a:ext>
            </a:extLst>
          </p:cNvPr>
          <p:cNvGrpSpPr/>
          <p:nvPr/>
        </p:nvGrpSpPr>
        <p:grpSpPr>
          <a:xfrm>
            <a:off x="4050361" y="1930577"/>
            <a:ext cx="2372040" cy="1042039"/>
            <a:chOff x="1354255" y="3001022"/>
            <a:chExt cx="2372040" cy="1042039"/>
          </a:xfrm>
        </p:grpSpPr>
        <p:grpSp>
          <p:nvGrpSpPr>
            <p:cNvPr id="168" name="Groep 167">
              <a:extLst>
                <a:ext uri="{FF2B5EF4-FFF2-40B4-BE49-F238E27FC236}">
                  <a16:creationId xmlns:a16="http://schemas.microsoft.com/office/drawing/2014/main" id="{5F839603-126E-BDBF-5E8D-4930F75BEABE}"/>
                </a:ext>
              </a:extLst>
            </p:cNvPr>
            <p:cNvGrpSpPr/>
            <p:nvPr/>
          </p:nvGrpSpPr>
          <p:grpSpPr>
            <a:xfrm>
              <a:off x="1354255" y="3001022"/>
              <a:ext cx="2372040" cy="805558"/>
              <a:chOff x="2849184" y="3218750"/>
              <a:chExt cx="2372040" cy="805558"/>
            </a:xfrm>
          </p:grpSpPr>
          <p:sp>
            <p:nvSpPr>
              <p:cNvPr id="170" name="Rechthoek: afgeronde hoeken 169">
                <a:extLst>
                  <a:ext uri="{FF2B5EF4-FFF2-40B4-BE49-F238E27FC236}">
                    <a16:creationId xmlns:a16="http://schemas.microsoft.com/office/drawing/2014/main" id="{E403CB77-1789-E062-ED17-85EB69E67B58}"/>
                  </a:ext>
                </a:extLst>
              </p:cNvPr>
              <p:cNvSpPr/>
              <p:nvPr/>
            </p:nvSpPr>
            <p:spPr>
              <a:xfrm>
                <a:off x="2849184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Focus  faculteit: communicatie &amp; werving onderzoeksprojecten</a:t>
                </a:r>
              </a:p>
              <a:p>
                <a:pPr algn="ctr">
                  <a:defRPr/>
                </a:pPr>
                <a:endParaRPr lang="nl-NL" sz="11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F64B592C-2480-2DAD-6B07-0C89427013CB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72" name="Rechthoek: afgeronde hoeken 171">
                  <a:extLst>
                    <a:ext uri="{FF2B5EF4-FFF2-40B4-BE49-F238E27FC236}">
                      <a16:creationId xmlns:a16="http://schemas.microsoft.com/office/drawing/2014/main" id="{298CCB26-F0E0-FB4A-86F7-3A9AD24E3ED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Ovaal 172">
                  <a:extLst>
                    <a:ext uri="{FF2B5EF4-FFF2-40B4-BE49-F238E27FC236}">
                      <a16:creationId xmlns:a16="http://schemas.microsoft.com/office/drawing/2014/main" id="{DDD1BB2F-2EB8-2D5C-6036-A44FC4D8F8FA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al 173">
                  <a:extLst>
                    <a:ext uri="{FF2B5EF4-FFF2-40B4-BE49-F238E27FC236}">
                      <a16:creationId xmlns:a16="http://schemas.microsoft.com/office/drawing/2014/main" id="{71959537-B276-A2F2-E2B3-6B27AA5E66BF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Ovaal 174">
                  <a:extLst>
                    <a:ext uri="{FF2B5EF4-FFF2-40B4-BE49-F238E27FC236}">
                      <a16:creationId xmlns:a16="http://schemas.microsoft.com/office/drawing/2014/main" id="{8F7076CB-0DEE-0EBE-22D3-D75C5BCE6410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9" name="Rechthoek: afgeronde hoeken 168">
              <a:extLst>
                <a:ext uri="{FF2B5EF4-FFF2-40B4-BE49-F238E27FC236}">
                  <a16:creationId xmlns:a16="http://schemas.microsoft.com/office/drawing/2014/main" id="{9C72B34B-A58A-67A1-6AAB-BA45A6A73DA1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C&amp;M</a:t>
              </a:r>
            </a:p>
          </p:txBody>
        </p:sp>
      </p:grpSp>
      <p:grpSp>
        <p:nvGrpSpPr>
          <p:cNvPr id="176" name="Groep 175">
            <a:extLst>
              <a:ext uri="{FF2B5EF4-FFF2-40B4-BE49-F238E27FC236}">
                <a16:creationId xmlns:a16="http://schemas.microsoft.com/office/drawing/2014/main" id="{76DAE0A9-806E-2224-6F7F-52699366B2EC}"/>
              </a:ext>
            </a:extLst>
          </p:cNvPr>
          <p:cNvGrpSpPr/>
          <p:nvPr/>
        </p:nvGrpSpPr>
        <p:grpSpPr>
          <a:xfrm>
            <a:off x="4051859" y="3107436"/>
            <a:ext cx="2368072" cy="1042039"/>
            <a:chOff x="1358223" y="3001022"/>
            <a:chExt cx="2368072" cy="1042039"/>
          </a:xfrm>
        </p:grpSpPr>
        <p:grpSp>
          <p:nvGrpSpPr>
            <p:cNvPr id="177" name="Groep 176">
              <a:extLst>
                <a:ext uri="{FF2B5EF4-FFF2-40B4-BE49-F238E27FC236}">
                  <a16:creationId xmlns:a16="http://schemas.microsoft.com/office/drawing/2014/main" id="{1D6ECF8C-96E9-B1D7-56E4-75CD7D04EB21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9" name="Rechthoek: afgeronde hoeken 178">
                <a:extLst>
                  <a:ext uri="{FF2B5EF4-FFF2-40B4-BE49-F238E27FC236}">
                    <a16:creationId xmlns:a16="http://schemas.microsoft.com/office/drawing/2014/main" id="{CA176C0B-D857-7D46-7B42-358FF7AC47E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Kwaliteit &amp; efficiency Technology Centre</a:t>
                </a:r>
                <a:endParaRPr lang="en-US"/>
              </a:p>
            </p:txBody>
          </p:sp>
          <p:grpSp>
            <p:nvGrpSpPr>
              <p:cNvPr id="180" name="Groep 179">
                <a:extLst>
                  <a:ext uri="{FF2B5EF4-FFF2-40B4-BE49-F238E27FC236}">
                    <a16:creationId xmlns:a16="http://schemas.microsoft.com/office/drawing/2014/main" id="{C312A041-EB9B-DA0A-D21C-2EB190662471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81" name="Rechthoek: afgeronde hoeken 180">
                  <a:extLst>
                    <a:ext uri="{FF2B5EF4-FFF2-40B4-BE49-F238E27FC236}">
                      <a16:creationId xmlns:a16="http://schemas.microsoft.com/office/drawing/2014/main" id="{C1099DAA-F348-5FF7-AC04-1CE07D7BE30C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Ovaal 181">
                  <a:extLst>
                    <a:ext uri="{FF2B5EF4-FFF2-40B4-BE49-F238E27FC236}">
                      <a16:creationId xmlns:a16="http://schemas.microsoft.com/office/drawing/2014/main" id="{756806E5-C4DC-B499-C87B-D3A1906B8460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Ovaal 182">
                  <a:extLst>
                    <a:ext uri="{FF2B5EF4-FFF2-40B4-BE49-F238E27FC236}">
                      <a16:creationId xmlns:a16="http://schemas.microsoft.com/office/drawing/2014/main" id="{AC5A1B06-D357-ACAB-036E-4949B74C7DF4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al 183">
                  <a:extLst>
                    <a:ext uri="{FF2B5EF4-FFF2-40B4-BE49-F238E27FC236}">
                      <a16:creationId xmlns:a16="http://schemas.microsoft.com/office/drawing/2014/main" id="{61E2D094-C990-1E59-DEC0-5CCB3EDA69FD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Rechthoek: afgeronde hoeken 177">
              <a:extLst>
                <a:ext uri="{FF2B5EF4-FFF2-40B4-BE49-F238E27FC236}">
                  <a16:creationId xmlns:a16="http://schemas.microsoft.com/office/drawing/2014/main" id="{978536D6-AEA7-1A1A-FE32-D54338E23D4E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afdelingen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Support Office</a:t>
              </a:r>
            </a:p>
          </p:txBody>
        </p:sp>
      </p:grpSp>
      <p:grpSp>
        <p:nvGrpSpPr>
          <p:cNvPr id="185" name="Groep 184">
            <a:extLst>
              <a:ext uri="{FF2B5EF4-FFF2-40B4-BE49-F238E27FC236}">
                <a16:creationId xmlns:a16="http://schemas.microsoft.com/office/drawing/2014/main" id="{5CC1F302-E837-36FA-CF6F-A5A818AF5C66}"/>
              </a:ext>
            </a:extLst>
          </p:cNvPr>
          <p:cNvGrpSpPr/>
          <p:nvPr/>
        </p:nvGrpSpPr>
        <p:grpSpPr>
          <a:xfrm>
            <a:off x="6706007" y="1930577"/>
            <a:ext cx="2368072" cy="1042039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09C6F29E-7FA0-183C-9E01-4CBF4901A282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1A40F359-A60F-C824-EA87-AE38853A53B8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endParaRPr lang="nl-NL" sz="11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B0DB8F04-583E-C8F6-9C7E-06A1D17A499F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AF8FF0B7-07D6-1234-A90A-F3A724044B81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37528CFB-D58F-026A-84C9-C024CD22189C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F50779F3-2E38-CC58-E726-42D3E38ACFD0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14E1CDBF-A20C-5E65-CEFC-F197EFC6FCC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503DA67B-1BBB-3570-042D-2AD254A82D24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D34BF75D-5051-DD60-7719-60681B3D7621}"/>
              </a:ext>
            </a:extLst>
          </p:cNvPr>
          <p:cNvGrpSpPr/>
          <p:nvPr/>
        </p:nvGrpSpPr>
        <p:grpSpPr>
          <a:xfrm>
            <a:off x="6703537" y="3107436"/>
            <a:ext cx="2368072" cy="1042039"/>
            <a:chOff x="1358223" y="3001022"/>
            <a:chExt cx="2368072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A4433C03-0438-E040-D515-8F9F787B1331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AD24A287-FD67-279D-9C4C-FB7F196AEFC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endParaRPr lang="nl-NL" sz="11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6B0B6944-9F2D-E948-C6E3-3C5135862A78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9222DF19-EE99-8572-3984-2246DF013894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D76235B7-389F-9060-6BCC-B25EFDA4CB7A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A76E68A2-2B7A-C1D3-543D-6860A5350B60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CFCBDB1F-48CE-D9FB-D799-DF4C5403593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745A6BFF-86BE-0C92-348D-76DF71864670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CF9E664C-23F2-3928-7883-FA53F07F1401}"/>
              </a:ext>
            </a:extLst>
          </p:cNvPr>
          <p:cNvGrpSpPr/>
          <p:nvPr/>
        </p:nvGrpSpPr>
        <p:grpSpPr>
          <a:xfrm>
            <a:off x="9377654" y="1930934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4590F0DC-1B1E-EB9D-5C45-C9A03868C85F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CA85B804-5D88-CCFB-2204-505DBEC59813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2DE257EF-37DA-8A51-668C-E2D1214EE63B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C681BA35-2AF2-2CC3-2A5E-545C45DB9D65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00CE8C3F-BD07-3EB8-B907-D6613DDB1B46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A79D5300-7113-9C54-D76D-F1072B267E92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2974EEC5-004A-38DC-757F-4DA55587245F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096785E4-4D16-83A4-24AB-B34DF20371DF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838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F96EC8-80AF-3D07-8470-F5641630C7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hthoek 103">
            <a:extLst>
              <a:ext uri="{FF2B5EF4-FFF2-40B4-BE49-F238E27FC236}">
                <a16:creationId xmlns:a16="http://schemas.microsoft.com/office/drawing/2014/main" id="{A6B8F53A-9442-751D-7C94-4B3442DE1319}"/>
              </a:ext>
            </a:extLst>
          </p:cNvPr>
          <p:cNvSpPr/>
          <p:nvPr/>
        </p:nvSpPr>
        <p:spPr>
          <a:xfrm>
            <a:off x="0" y="-9853"/>
            <a:ext cx="12193587" cy="81468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2200">
              <a:solidFill>
                <a:schemeClr val="bg2"/>
              </a:solidFill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7324EAC6-2BC6-717D-E988-4972545503F4}"/>
              </a:ext>
            </a:extLst>
          </p:cNvPr>
          <p:cNvSpPr/>
          <p:nvPr/>
        </p:nvSpPr>
        <p:spPr>
          <a:xfrm>
            <a:off x="1302427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Samen werken we aan een inclusieve en veilige </a:t>
            </a:r>
            <a:r>
              <a:rPr lang="nl-NL" sz="1200" b="1">
                <a:solidFill>
                  <a:srgbClr val="FFFFFF"/>
                </a:solidFill>
                <a:latin typeface="Aptos"/>
              </a:rPr>
              <a:t>cam</a:t>
            </a:r>
            <a:r>
              <a:rPr lang="nl-NL" sz="1200" b="1" baseline="0">
                <a:solidFill>
                  <a:srgbClr val="FFFFFF"/>
                </a:solidFill>
                <a:latin typeface="Aptos"/>
              </a:rPr>
              <a:t>pus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11" name="Pijl: vijfhoek 10">
            <a:extLst>
              <a:ext uri="{FF2B5EF4-FFF2-40B4-BE49-F238E27FC236}">
                <a16:creationId xmlns:a16="http://schemas.microsoft.com/office/drawing/2014/main" id="{DF2809B5-66B8-0F25-6D29-D6376DBAED3F}"/>
              </a:ext>
            </a:extLst>
          </p:cNvPr>
          <p:cNvSpPr/>
          <p:nvPr/>
        </p:nvSpPr>
        <p:spPr>
          <a:xfrm>
            <a:off x="160816" y="5459799"/>
            <a:ext cx="945818" cy="809540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ultaten</a:t>
            </a:r>
          </a:p>
        </p:txBody>
      </p:sp>
      <p:sp>
        <p:nvSpPr>
          <p:cNvPr id="13" name="Pijl: vijfhoek 12">
            <a:extLst>
              <a:ext uri="{FF2B5EF4-FFF2-40B4-BE49-F238E27FC236}">
                <a16:creationId xmlns:a16="http://schemas.microsoft.com/office/drawing/2014/main" id="{C62C2999-A526-94F1-1CEF-0A178983E4D5}"/>
              </a:ext>
            </a:extLst>
          </p:cNvPr>
          <p:cNvSpPr/>
          <p:nvPr/>
        </p:nvSpPr>
        <p:spPr>
          <a:xfrm>
            <a:off x="137394" y="1111434"/>
            <a:ext cx="945818" cy="646331"/>
          </a:xfrm>
          <a:prstGeom prst="homePlate">
            <a:avLst>
              <a:gd name="adj" fmla="val 2497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 doel</a:t>
            </a:r>
            <a:endParaRPr kumimoji="0" lang="nl-NL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5" name="Tekstvak 104">
            <a:extLst>
              <a:ext uri="{FF2B5EF4-FFF2-40B4-BE49-F238E27FC236}">
                <a16:creationId xmlns:a16="http://schemas.microsoft.com/office/drawing/2014/main" id="{778D2F76-6D34-78A5-22B1-7E07F3039C80}"/>
              </a:ext>
            </a:extLst>
          </p:cNvPr>
          <p:cNvSpPr txBox="1"/>
          <p:nvPr/>
        </p:nvSpPr>
        <p:spPr>
          <a:xfrm>
            <a:off x="10322205" y="57230"/>
            <a:ext cx="1788792" cy="656592"/>
          </a:xfrm>
          <a:prstGeom prst="rect">
            <a:avLst/>
          </a:prstGeom>
          <a:noFill/>
          <a:ln>
            <a:noFill/>
          </a:ln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Onderwijs</a:t>
            </a:r>
          </a:p>
          <a:p>
            <a:pPr algn="l"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Onderzoek</a:t>
            </a:r>
          </a:p>
          <a:p>
            <a:pPr algn="l">
              <a:spcAft>
                <a:spcPts val="300"/>
              </a:spcAft>
            </a:pPr>
            <a:r>
              <a:rPr lang="nl-NL" sz="1000" b="0" i="0">
                <a:solidFill>
                  <a:schemeClr val="tx1"/>
                </a:solidFill>
                <a:latin typeface="Aptos" panose="020B0004020202020204" pitchFamily="34" charset="0"/>
              </a:rPr>
              <a:t>Valorisatie &amp; impact</a:t>
            </a:r>
          </a:p>
          <a:p>
            <a:pPr>
              <a:spcAft>
                <a:spcPts val="300"/>
              </a:spcAft>
            </a:pPr>
            <a:r>
              <a:rPr lang="nl-NL" sz="1000">
                <a:latin typeface="Aptos" panose="020B0004020202020204" pitchFamily="34" charset="0"/>
              </a:rPr>
              <a:t>Mens &amp; organisatie</a:t>
            </a:r>
          </a:p>
        </p:txBody>
      </p:sp>
      <p:sp>
        <p:nvSpPr>
          <p:cNvPr id="106" name="Rechthoek 105">
            <a:extLst>
              <a:ext uri="{FF2B5EF4-FFF2-40B4-BE49-F238E27FC236}">
                <a16:creationId xmlns:a16="http://schemas.microsoft.com/office/drawing/2014/main" id="{BBE6D6DA-EA95-50B9-81B7-6322BC1B1A0B}"/>
              </a:ext>
            </a:extLst>
          </p:cNvPr>
          <p:cNvSpPr/>
          <p:nvPr/>
        </p:nvSpPr>
        <p:spPr>
          <a:xfrm>
            <a:off x="82591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r>
              <a:rPr lang="nl-NL" sz="1400" b="1">
                <a:solidFill>
                  <a:schemeClr val="tx1"/>
                </a:solidFill>
              </a:rPr>
              <a:t>BETA</a:t>
            </a:r>
          </a:p>
        </p:txBody>
      </p:sp>
      <p:sp>
        <p:nvSpPr>
          <p:cNvPr id="107" name="Rechthoek 106">
            <a:extLst>
              <a:ext uri="{FF2B5EF4-FFF2-40B4-BE49-F238E27FC236}">
                <a16:creationId xmlns:a16="http://schemas.microsoft.com/office/drawing/2014/main" id="{525C5642-2AA3-2DA8-4E95-4678311D4D3B}"/>
              </a:ext>
            </a:extLst>
          </p:cNvPr>
          <p:cNvSpPr/>
          <p:nvPr/>
        </p:nvSpPr>
        <p:spPr>
          <a:xfrm>
            <a:off x="1939905" y="75618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Domein / sub-unit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Mens en Organisatie 2</a:t>
            </a:r>
          </a:p>
        </p:txBody>
      </p:sp>
      <p:sp>
        <p:nvSpPr>
          <p:cNvPr id="108" name="Rechthoek 107">
            <a:extLst>
              <a:ext uri="{FF2B5EF4-FFF2-40B4-BE49-F238E27FC236}">
                <a16:creationId xmlns:a16="http://schemas.microsoft.com/office/drawing/2014/main" id="{0F483DE1-17D2-4964-82D6-7A04B4DC5640}"/>
              </a:ext>
            </a:extLst>
          </p:cNvPr>
          <p:cNvSpPr/>
          <p:nvPr/>
        </p:nvSpPr>
        <p:spPr>
          <a:xfrm>
            <a:off x="3797219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Eigenaar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DBV</a:t>
            </a:r>
          </a:p>
        </p:txBody>
      </p:sp>
      <p:sp>
        <p:nvSpPr>
          <p:cNvPr id="109" name="Rechthoek 108">
            <a:extLst>
              <a:ext uri="{FF2B5EF4-FFF2-40B4-BE49-F238E27FC236}">
                <a16:creationId xmlns:a16="http://schemas.microsoft.com/office/drawing/2014/main" id="{8D7B37DA-1014-3BE5-9CEC-5EDC9190FAFF}"/>
              </a:ext>
            </a:extLst>
          </p:cNvPr>
          <p:cNvSpPr/>
          <p:nvPr/>
        </p:nvSpPr>
        <p:spPr>
          <a:xfrm>
            <a:off x="5615655" y="72691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Periode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2027 - 2030</a:t>
            </a:r>
          </a:p>
        </p:txBody>
      </p:sp>
      <p:sp>
        <p:nvSpPr>
          <p:cNvPr id="110" name="Rechthoek 109">
            <a:extLst>
              <a:ext uri="{FF2B5EF4-FFF2-40B4-BE49-F238E27FC236}">
                <a16:creationId xmlns:a16="http://schemas.microsoft.com/office/drawing/2014/main" id="{5F0A10A2-ECE8-29F0-3C5A-1FE3312DFB4E}"/>
              </a:ext>
            </a:extLst>
          </p:cNvPr>
          <p:cNvSpPr/>
          <p:nvPr/>
        </p:nvSpPr>
        <p:spPr>
          <a:xfrm>
            <a:off x="7487982" y="98517"/>
            <a:ext cx="1704914" cy="638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800">
                <a:solidFill>
                  <a:schemeClr val="tx1"/>
                </a:solidFill>
              </a:rPr>
              <a:t>… </a:t>
            </a:r>
          </a:p>
          <a:p>
            <a:pPr algn="l"/>
            <a:endParaRPr lang="nl-NL" sz="800">
              <a:solidFill>
                <a:schemeClr val="tx1"/>
              </a:solidFill>
            </a:endParaRPr>
          </a:p>
          <a:p>
            <a:pPr algn="l"/>
            <a:r>
              <a:rPr lang="nl-NL" sz="1400" b="1">
                <a:solidFill>
                  <a:schemeClr val="tx1"/>
                </a:solidFill>
              </a:rPr>
              <a:t>[…]</a:t>
            </a:r>
          </a:p>
        </p:txBody>
      </p:sp>
      <p:sp>
        <p:nvSpPr>
          <p:cNvPr id="111" name="Pijl: vijfhoek 110">
            <a:extLst>
              <a:ext uri="{FF2B5EF4-FFF2-40B4-BE49-F238E27FC236}">
                <a16:creationId xmlns:a16="http://schemas.microsoft.com/office/drawing/2014/main" id="{1AA9D9CB-E60D-E9BC-91FD-D28C7A35E040}"/>
              </a:ext>
            </a:extLst>
          </p:cNvPr>
          <p:cNvSpPr/>
          <p:nvPr/>
        </p:nvSpPr>
        <p:spPr>
          <a:xfrm>
            <a:off x="137394" y="1980671"/>
            <a:ext cx="945818" cy="646331"/>
          </a:xfrm>
          <a:prstGeom prst="homePlate">
            <a:avLst>
              <a:gd name="adj" fmla="val 29323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rategische initiatieven </a:t>
            </a:r>
          </a:p>
        </p:txBody>
      </p:sp>
      <p:cxnSp>
        <p:nvCxnSpPr>
          <p:cNvPr id="113" name="Rechte verbindingslijn 112">
            <a:extLst>
              <a:ext uri="{FF2B5EF4-FFF2-40B4-BE49-F238E27FC236}">
                <a16:creationId xmlns:a16="http://schemas.microsoft.com/office/drawing/2014/main" id="{76227877-7561-7042-6B07-A0F1563FB41B}"/>
              </a:ext>
            </a:extLst>
          </p:cNvPr>
          <p:cNvCxnSpPr>
            <a:cxnSpLocks/>
          </p:cNvCxnSpPr>
          <p:nvPr/>
        </p:nvCxnSpPr>
        <p:spPr>
          <a:xfrm>
            <a:off x="160816" y="2833879"/>
            <a:ext cx="11839603" cy="38775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chte verbindingslijn 117">
            <a:extLst>
              <a:ext uri="{FF2B5EF4-FFF2-40B4-BE49-F238E27FC236}">
                <a16:creationId xmlns:a16="http://schemas.microsoft.com/office/drawing/2014/main" id="{FE9DFD1B-2896-8E43-579E-D1FDE72D564B}"/>
              </a:ext>
            </a:extLst>
          </p:cNvPr>
          <p:cNvCxnSpPr>
            <a:cxnSpLocks/>
          </p:cNvCxnSpPr>
          <p:nvPr/>
        </p:nvCxnSpPr>
        <p:spPr>
          <a:xfrm>
            <a:off x="3901208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hoek: afgeronde hoeken 118">
            <a:extLst>
              <a:ext uri="{FF2B5EF4-FFF2-40B4-BE49-F238E27FC236}">
                <a16:creationId xmlns:a16="http://schemas.microsoft.com/office/drawing/2014/main" id="{0289CC16-26AA-1C84-4DF0-E73AB0C1B178}"/>
              </a:ext>
            </a:extLst>
          </p:cNvPr>
          <p:cNvSpPr/>
          <p:nvPr/>
        </p:nvSpPr>
        <p:spPr>
          <a:xfrm>
            <a:off x="3996019" y="1095726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200" b="1" i="0" u="none" strike="noStrike" kern="1200" cap="none" spc="0" normalizeH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/>
              </a:rPr>
              <a:t>Financi</a:t>
            </a:r>
            <a:r>
              <a:rPr lang="en-US" sz="1200" b="1">
                <a:solidFill>
                  <a:srgbClr val="FFFFFF"/>
                </a:solidFill>
                <a:latin typeface="Aptos"/>
              </a:rPr>
              <a:t>en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43" name="Rechte verbindingslijn 142">
            <a:extLst>
              <a:ext uri="{FF2B5EF4-FFF2-40B4-BE49-F238E27FC236}">
                <a16:creationId xmlns:a16="http://schemas.microsoft.com/office/drawing/2014/main" id="{5D8F75D8-2EA8-78DE-9382-0DE1EAC6277E}"/>
              </a:ext>
            </a:extLst>
          </p:cNvPr>
          <p:cNvCxnSpPr>
            <a:cxnSpLocks/>
          </p:cNvCxnSpPr>
          <p:nvPr/>
        </p:nvCxnSpPr>
        <p:spPr>
          <a:xfrm>
            <a:off x="6576337" y="110067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hoek: afgeronde hoeken 143">
            <a:extLst>
              <a:ext uri="{FF2B5EF4-FFF2-40B4-BE49-F238E27FC236}">
                <a16:creationId xmlns:a16="http://schemas.microsoft.com/office/drawing/2014/main" id="{2A5C9542-B74D-8597-A30C-AA8C908240E0}"/>
              </a:ext>
            </a:extLst>
          </p:cNvPr>
          <p:cNvSpPr/>
          <p:nvPr/>
        </p:nvSpPr>
        <p:spPr>
          <a:xfrm>
            <a:off x="6702525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b="1" baseline="0">
                <a:solidFill>
                  <a:srgbClr val="FFFFFF"/>
                </a:solidFill>
                <a:latin typeface="Aptos"/>
              </a:rPr>
              <a:t>…</a:t>
            </a: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cxnSp>
        <p:nvCxnSpPr>
          <p:cNvPr id="163" name="Rechte verbindingslijn 162">
            <a:extLst>
              <a:ext uri="{FF2B5EF4-FFF2-40B4-BE49-F238E27FC236}">
                <a16:creationId xmlns:a16="http://schemas.microsoft.com/office/drawing/2014/main" id="{5ECC015A-8E54-2356-466C-BD9121DDEEF8}"/>
              </a:ext>
            </a:extLst>
          </p:cNvPr>
          <p:cNvCxnSpPr>
            <a:cxnSpLocks/>
          </p:cNvCxnSpPr>
          <p:nvPr/>
        </p:nvCxnSpPr>
        <p:spPr>
          <a:xfrm>
            <a:off x="9251466" y="1106398"/>
            <a:ext cx="0" cy="5495033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hoek: afgeronde hoeken 163">
            <a:extLst>
              <a:ext uri="{FF2B5EF4-FFF2-40B4-BE49-F238E27FC236}">
                <a16:creationId xmlns:a16="http://schemas.microsoft.com/office/drawing/2014/main" id="{A2DB666A-AE63-7D27-0F5D-05A8BA453FEA}"/>
              </a:ext>
            </a:extLst>
          </p:cNvPr>
          <p:cNvSpPr/>
          <p:nvPr/>
        </p:nvSpPr>
        <p:spPr>
          <a:xfrm>
            <a:off x="9377654" y="1078150"/>
            <a:ext cx="2421395" cy="646331"/>
          </a:xfrm>
          <a:prstGeom prst="roundRect">
            <a:avLst>
              <a:gd name="adj" fmla="val 7953"/>
            </a:avLst>
          </a:prstGeom>
          <a:solidFill>
            <a:schemeClr val="bg1">
              <a:lumMod val="85000"/>
            </a:schemeClr>
          </a:solidFill>
          <a:ln>
            <a:solidFill>
              <a:srgbClr val="003C5A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nl-N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</a:endParaRPr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98C1980B-5A55-BBF2-E41D-051A87F002CB}"/>
              </a:ext>
            </a:extLst>
          </p:cNvPr>
          <p:cNvGrpSpPr/>
          <p:nvPr/>
        </p:nvGrpSpPr>
        <p:grpSpPr>
          <a:xfrm>
            <a:off x="1352514" y="5407218"/>
            <a:ext cx="2416182" cy="890920"/>
            <a:chOff x="1329092" y="1590911"/>
            <a:chExt cx="2416182" cy="890920"/>
          </a:xfrm>
        </p:grpSpPr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496825A1-3E6A-588B-B56F-A3B4BCBB60E2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" name="Rechthoek: afgeronde hoeken 8">
                <a:extLst>
                  <a:ext uri="{FF2B5EF4-FFF2-40B4-BE49-F238E27FC236}">
                    <a16:creationId xmlns:a16="http://schemas.microsoft.com/office/drawing/2014/main" id="{45E1ABCD-CFC5-E5BA-7542-1F0AD6C35B50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hthoek: afgeronde hoeken 27">
                <a:extLst>
                  <a:ext uri="{FF2B5EF4-FFF2-40B4-BE49-F238E27FC236}">
                    <a16:creationId xmlns:a16="http://schemas.microsoft.com/office/drawing/2014/main" id="{5345777A-7DBE-4546-AF42-CBA2BE3970C2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67" name="Tekstvak 66">
              <a:extLst>
                <a:ext uri="{FF2B5EF4-FFF2-40B4-BE49-F238E27FC236}">
                  <a16:creationId xmlns:a16="http://schemas.microsoft.com/office/drawing/2014/main" id="{C89974DB-7D42-FC4F-7155-299ADAB2AB8D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id="{C8C12B18-D8D4-77C0-0A1A-3DD0FB3F218C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68" name="Rechthoek: afgeronde hoeken 67">
                <a:extLst>
                  <a:ext uri="{FF2B5EF4-FFF2-40B4-BE49-F238E27FC236}">
                    <a16:creationId xmlns:a16="http://schemas.microsoft.com/office/drawing/2014/main" id="{5805D869-999F-13A4-2C36-0A5AD8465F07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hthoek: afgeronde hoeken 27">
                <a:extLst>
                  <a:ext uri="{FF2B5EF4-FFF2-40B4-BE49-F238E27FC236}">
                    <a16:creationId xmlns:a16="http://schemas.microsoft.com/office/drawing/2014/main" id="{00EE1403-62F4-7298-73F0-0515D6710B38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75" name="Groep 74">
              <a:extLst>
                <a:ext uri="{FF2B5EF4-FFF2-40B4-BE49-F238E27FC236}">
                  <a16:creationId xmlns:a16="http://schemas.microsoft.com/office/drawing/2014/main" id="{4F6888F1-9A19-06A9-DE6D-E52BCB8D2C08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76" name="Rechthoek: afgeronde hoeken 75">
                <a:extLst>
                  <a:ext uri="{FF2B5EF4-FFF2-40B4-BE49-F238E27FC236}">
                    <a16:creationId xmlns:a16="http://schemas.microsoft.com/office/drawing/2014/main" id="{8ADD37CE-AF40-470B-290E-9A2889E786AB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27">
                <a:extLst>
                  <a:ext uri="{FF2B5EF4-FFF2-40B4-BE49-F238E27FC236}">
                    <a16:creationId xmlns:a16="http://schemas.microsoft.com/office/drawing/2014/main" id="{82D6C52D-089D-31F7-54ED-8BC3F1AD67CD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AEE02F0C-8A1F-3AF5-4FD5-4DAB7122DAB1}"/>
              </a:ext>
            </a:extLst>
          </p:cNvPr>
          <p:cNvGrpSpPr/>
          <p:nvPr/>
        </p:nvGrpSpPr>
        <p:grpSpPr>
          <a:xfrm>
            <a:off x="4075352" y="5407218"/>
            <a:ext cx="2416182" cy="890920"/>
            <a:chOff x="1329092" y="1590911"/>
            <a:chExt cx="2416182" cy="890920"/>
          </a:xfrm>
        </p:grpSpPr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C1A49272-1A8B-972D-9051-A63E1645CFE5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88" name="Rechthoek: afgeronde hoeken 87">
                <a:extLst>
                  <a:ext uri="{FF2B5EF4-FFF2-40B4-BE49-F238E27FC236}">
                    <a16:creationId xmlns:a16="http://schemas.microsoft.com/office/drawing/2014/main" id="{055788E3-4EC4-EBD8-2C5B-9B7518DFFF19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hoek: afgeronde hoeken 27">
                <a:extLst>
                  <a:ext uri="{FF2B5EF4-FFF2-40B4-BE49-F238E27FC236}">
                    <a16:creationId xmlns:a16="http://schemas.microsoft.com/office/drawing/2014/main" id="{C3CF27F4-FFEC-03F9-A601-C8162C3F60DD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8B7758EE-F03C-D57C-9997-A6FB3EC01DF8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82" name="Groep 81">
              <a:extLst>
                <a:ext uri="{FF2B5EF4-FFF2-40B4-BE49-F238E27FC236}">
                  <a16:creationId xmlns:a16="http://schemas.microsoft.com/office/drawing/2014/main" id="{9DCE3278-7996-3234-BD08-D0ECAE951D46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86" name="Rechthoek: afgeronde hoeken 85">
                <a:extLst>
                  <a:ext uri="{FF2B5EF4-FFF2-40B4-BE49-F238E27FC236}">
                    <a16:creationId xmlns:a16="http://schemas.microsoft.com/office/drawing/2014/main" id="{00579100-0797-E3B1-5B53-619CD78D2953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hoek: afgeronde hoeken 27">
                <a:extLst>
                  <a:ext uri="{FF2B5EF4-FFF2-40B4-BE49-F238E27FC236}">
                    <a16:creationId xmlns:a16="http://schemas.microsoft.com/office/drawing/2014/main" id="{872A5752-BCFC-CBD5-214F-CC4670AB5010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83" name="Groep 82">
              <a:extLst>
                <a:ext uri="{FF2B5EF4-FFF2-40B4-BE49-F238E27FC236}">
                  <a16:creationId xmlns:a16="http://schemas.microsoft.com/office/drawing/2014/main" id="{0E759049-53AE-B43A-7355-B1CF44E7F1ED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84" name="Rechthoek: afgeronde hoeken 83">
                <a:extLst>
                  <a:ext uri="{FF2B5EF4-FFF2-40B4-BE49-F238E27FC236}">
                    <a16:creationId xmlns:a16="http://schemas.microsoft.com/office/drawing/2014/main" id="{D2B5F89C-8B87-3EEF-9AC1-CC1FB7F5D4D0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hoek: afgeronde hoeken 27">
                <a:extLst>
                  <a:ext uri="{FF2B5EF4-FFF2-40B4-BE49-F238E27FC236}">
                    <a16:creationId xmlns:a16="http://schemas.microsoft.com/office/drawing/2014/main" id="{BF4DCCB9-8F0C-7391-4A2A-E290C2BEAF2E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90" name="Groep 89">
            <a:extLst>
              <a:ext uri="{FF2B5EF4-FFF2-40B4-BE49-F238E27FC236}">
                <a16:creationId xmlns:a16="http://schemas.microsoft.com/office/drawing/2014/main" id="{ACB9E705-C055-6BC6-0B1E-A4EBC6CD7D76}"/>
              </a:ext>
            </a:extLst>
          </p:cNvPr>
          <p:cNvGrpSpPr/>
          <p:nvPr/>
        </p:nvGrpSpPr>
        <p:grpSpPr>
          <a:xfrm>
            <a:off x="6728053" y="5407218"/>
            <a:ext cx="2416182" cy="890920"/>
            <a:chOff x="1329092" y="1590911"/>
            <a:chExt cx="2416182" cy="890920"/>
          </a:xfrm>
        </p:grpSpPr>
        <p:grpSp>
          <p:nvGrpSpPr>
            <p:cNvPr id="91" name="Groep 90">
              <a:extLst>
                <a:ext uri="{FF2B5EF4-FFF2-40B4-BE49-F238E27FC236}">
                  <a16:creationId xmlns:a16="http://schemas.microsoft.com/office/drawing/2014/main" id="{6050D19A-F50A-2B32-1508-0A91EC259781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99" name="Rechthoek: afgeronde hoeken 98">
                <a:extLst>
                  <a:ext uri="{FF2B5EF4-FFF2-40B4-BE49-F238E27FC236}">
                    <a16:creationId xmlns:a16="http://schemas.microsoft.com/office/drawing/2014/main" id="{9EFC2298-DB57-7625-30F3-E50BBEF20A5A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hthoek: afgeronde hoeken 27">
                <a:extLst>
                  <a:ext uri="{FF2B5EF4-FFF2-40B4-BE49-F238E27FC236}">
                    <a16:creationId xmlns:a16="http://schemas.microsoft.com/office/drawing/2014/main" id="{CAE915E2-792F-9676-4505-0DF2E904A06C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92" name="Tekstvak 91">
              <a:extLst>
                <a:ext uri="{FF2B5EF4-FFF2-40B4-BE49-F238E27FC236}">
                  <a16:creationId xmlns:a16="http://schemas.microsoft.com/office/drawing/2014/main" id="{786E0464-E532-10FF-9435-00ABF13A3663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1D9BF375-86F8-0E02-500A-C6520C24E077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97" name="Rechthoek: afgeronde hoeken 96">
                <a:extLst>
                  <a:ext uri="{FF2B5EF4-FFF2-40B4-BE49-F238E27FC236}">
                    <a16:creationId xmlns:a16="http://schemas.microsoft.com/office/drawing/2014/main" id="{30FBFC8C-0420-D700-5D45-60BF76452DE2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hthoek: afgeronde hoeken 27">
                <a:extLst>
                  <a:ext uri="{FF2B5EF4-FFF2-40B4-BE49-F238E27FC236}">
                    <a16:creationId xmlns:a16="http://schemas.microsoft.com/office/drawing/2014/main" id="{DEF8D415-0461-DD74-55E7-437336AA6349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7D57CAFE-DD34-949B-65FA-645FC000887C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95" name="Rechthoek: afgeronde hoeken 94">
                <a:extLst>
                  <a:ext uri="{FF2B5EF4-FFF2-40B4-BE49-F238E27FC236}">
                    <a16:creationId xmlns:a16="http://schemas.microsoft.com/office/drawing/2014/main" id="{9313A5D8-AA99-9057-BFDD-058BBEDACF3F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hthoek: afgeronde hoeken 27">
                <a:extLst>
                  <a:ext uri="{FF2B5EF4-FFF2-40B4-BE49-F238E27FC236}">
                    <a16:creationId xmlns:a16="http://schemas.microsoft.com/office/drawing/2014/main" id="{9C7F6D04-913A-58F2-1283-E7131DC5BD7C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id="{26C34481-4E18-98B4-8D24-6CA9068AA752}"/>
              </a:ext>
            </a:extLst>
          </p:cNvPr>
          <p:cNvGrpSpPr/>
          <p:nvPr/>
        </p:nvGrpSpPr>
        <p:grpSpPr>
          <a:xfrm>
            <a:off x="9405542" y="5407218"/>
            <a:ext cx="2416182" cy="890920"/>
            <a:chOff x="1329092" y="1590911"/>
            <a:chExt cx="2416182" cy="890920"/>
          </a:xfrm>
        </p:grpSpPr>
        <p:grpSp>
          <p:nvGrpSpPr>
            <p:cNvPr id="103" name="Groep 102">
              <a:extLst>
                <a:ext uri="{FF2B5EF4-FFF2-40B4-BE49-F238E27FC236}">
                  <a16:creationId xmlns:a16="http://schemas.microsoft.com/office/drawing/2014/main" id="{FB46A3D5-6B3B-D377-835F-1C77AF347B0E}"/>
                </a:ext>
              </a:extLst>
            </p:cNvPr>
            <p:cNvGrpSpPr/>
            <p:nvPr/>
          </p:nvGrpSpPr>
          <p:grpSpPr>
            <a:xfrm>
              <a:off x="1329092" y="1672291"/>
              <a:ext cx="2403915" cy="234489"/>
              <a:chOff x="1329092" y="1672291"/>
              <a:chExt cx="2403915" cy="234489"/>
            </a:xfrm>
          </p:grpSpPr>
          <p:sp>
            <p:nvSpPr>
              <p:cNvPr id="124" name="Rechthoek: afgeronde hoeken 123">
                <a:extLst>
                  <a:ext uri="{FF2B5EF4-FFF2-40B4-BE49-F238E27FC236}">
                    <a16:creationId xmlns:a16="http://schemas.microsoft.com/office/drawing/2014/main" id="{1489355B-1B04-59EC-1850-F20CDD559282}"/>
                  </a:ext>
                </a:extLst>
              </p:cNvPr>
              <p:cNvSpPr/>
              <p:nvPr/>
            </p:nvSpPr>
            <p:spPr>
              <a:xfrm>
                <a:off x="1329092" y="1672291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hthoek: afgeronde hoeken 27">
                <a:extLst>
                  <a:ext uri="{FF2B5EF4-FFF2-40B4-BE49-F238E27FC236}">
                    <a16:creationId xmlns:a16="http://schemas.microsoft.com/office/drawing/2014/main" id="{19525A44-123F-D35B-8210-F1C88CAA48A1}"/>
                  </a:ext>
                </a:extLst>
              </p:cNvPr>
              <p:cNvSpPr/>
              <p:nvPr/>
            </p:nvSpPr>
            <p:spPr>
              <a:xfrm>
                <a:off x="3134114" y="1672291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sp>
          <p:nvSpPr>
            <p:cNvPr id="112" name="Tekstvak 111">
              <a:extLst>
                <a:ext uri="{FF2B5EF4-FFF2-40B4-BE49-F238E27FC236}">
                  <a16:creationId xmlns:a16="http://schemas.microsoft.com/office/drawing/2014/main" id="{96AA3468-2D1C-5939-FC62-C3A895BB6E77}"/>
                </a:ext>
              </a:extLst>
            </p:cNvPr>
            <p:cNvSpPr txBox="1"/>
            <p:nvPr/>
          </p:nvSpPr>
          <p:spPr>
            <a:xfrm>
              <a:off x="3131237" y="1590911"/>
              <a:ext cx="614037" cy="77906"/>
            </a:xfrm>
            <a:prstGeom prst="rect">
              <a:avLst/>
            </a:prstGeom>
            <a:noFill/>
            <a:ln>
              <a:noFill/>
            </a:ln>
            <a:effectLst>
              <a:outerShdw blurRad="254000" dist="127000" dir="2700000" algn="ctr" rotWithShape="0">
                <a:schemeClr val="tx1">
                  <a:alpha val="5000"/>
                </a:scheme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l-NL" sz="400">
                  <a:latin typeface="Aptos" panose="020B0004020202020204" pitchFamily="34" charset="0"/>
                </a:rPr>
                <a:t>% behaald</a:t>
              </a:r>
              <a:endParaRPr lang="nl-NL" sz="400" b="0" i="0">
                <a:solidFill>
                  <a:schemeClr val="tx1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1F3B7659-2FF9-47A0-B29E-0FDDFEE68297}"/>
                </a:ext>
              </a:extLst>
            </p:cNvPr>
            <p:cNvGrpSpPr/>
            <p:nvPr/>
          </p:nvGrpSpPr>
          <p:grpSpPr>
            <a:xfrm>
              <a:off x="1329092" y="1959816"/>
              <a:ext cx="2403915" cy="234489"/>
              <a:chOff x="1331099" y="1961466"/>
              <a:chExt cx="2403915" cy="234489"/>
            </a:xfrm>
          </p:grpSpPr>
          <p:sp>
            <p:nvSpPr>
              <p:cNvPr id="122" name="Rechthoek: afgeronde hoeken 121">
                <a:extLst>
                  <a:ext uri="{FF2B5EF4-FFF2-40B4-BE49-F238E27FC236}">
                    <a16:creationId xmlns:a16="http://schemas.microsoft.com/office/drawing/2014/main" id="{3C5DD8C8-44B4-8D24-8E03-A8DAF86C040D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hthoek: afgeronde hoeken 27">
                <a:extLst>
                  <a:ext uri="{FF2B5EF4-FFF2-40B4-BE49-F238E27FC236}">
                    <a16:creationId xmlns:a16="http://schemas.microsoft.com/office/drawing/2014/main" id="{79197667-9A5D-3E66-274A-A547D5E358AE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  <p:grpSp>
          <p:nvGrpSpPr>
            <p:cNvPr id="115" name="Groep 114">
              <a:extLst>
                <a:ext uri="{FF2B5EF4-FFF2-40B4-BE49-F238E27FC236}">
                  <a16:creationId xmlns:a16="http://schemas.microsoft.com/office/drawing/2014/main" id="{D73B793B-7537-066D-6DAD-45A44673BFE0}"/>
                </a:ext>
              </a:extLst>
            </p:cNvPr>
            <p:cNvGrpSpPr/>
            <p:nvPr/>
          </p:nvGrpSpPr>
          <p:grpSpPr>
            <a:xfrm>
              <a:off x="1329092" y="2247342"/>
              <a:ext cx="2403915" cy="234489"/>
              <a:chOff x="1331099" y="1961466"/>
              <a:chExt cx="2403915" cy="234489"/>
            </a:xfrm>
          </p:grpSpPr>
          <p:sp>
            <p:nvSpPr>
              <p:cNvPr id="116" name="Rechthoek: afgeronde hoeken 115">
                <a:extLst>
                  <a:ext uri="{FF2B5EF4-FFF2-40B4-BE49-F238E27FC236}">
                    <a16:creationId xmlns:a16="http://schemas.microsoft.com/office/drawing/2014/main" id="{F106816A-F7D2-8CCE-B93A-6DC4A230B6DE}"/>
                  </a:ext>
                </a:extLst>
              </p:cNvPr>
              <p:cNvSpPr/>
              <p:nvPr/>
            </p:nvSpPr>
            <p:spPr>
              <a:xfrm>
                <a:off x="1331099" y="1961466"/>
                <a:ext cx="1855608" cy="234489"/>
              </a:xfrm>
              <a:prstGeom prst="roundRect">
                <a:avLst>
                  <a:gd name="adj" fmla="val 7953"/>
                </a:avLst>
              </a:prstGeom>
              <a:solidFill>
                <a:srgbClr val="FFFFFF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r>
                  <a:rPr lang="nl-NL" sz="800" i="1">
                    <a:solidFill>
                      <a:schemeClr val="tx1"/>
                    </a:solidFill>
                  </a:rPr>
                  <a:t>KPI, kwalitatief of gedrag</a:t>
                </a:r>
                <a:endParaRPr lang="nl-NL" sz="8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27">
                <a:extLst>
                  <a:ext uri="{FF2B5EF4-FFF2-40B4-BE49-F238E27FC236}">
                    <a16:creationId xmlns:a16="http://schemas.microsoft.com/office/drawing/2014/main" id="{A99EAE2E-68E1-7D17-7EFA-0A452F150E84}"/>
                  </a:ext>
                </a:extLst>
              </p:cNvPr>
              <p:cNvSpPr/>
              <p:nvPr/>
            </p:nvSpPr>
            <p:spPr>
              <a:xfrm>
                <a:off x="3136121" y="1961466"/>
                <a:ext cx="598893" cy="234489"/>
              </a:xfrm>
              <a:prstGeom prst="roundRect">
                <a:avLst>
                  <a:gd name="adj" fmla="val 7953"/>
                </a:avLst>
              </a:prstGeom>
              <a:solidFill>
                <a:srgbClr val="003C5A"/>
              </a:solidFill>
              <a:ln>
                <a:solidFill>
                  <a:srgbClr val="003C5A"/>
                </a:solidFill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/>
              <a:lstStyle/>
              <a:p>
                <a:pPr algn="ctr"/>
                <a:r>
                  <a:rPr lang="nl-NL" sz="800" b="1" i="1">
                    <a:solidFill>
                      <a:schemeClr val="bg2"/>
                    </a:solidFill>
                  </a:rPr>
                  <a:t>[...]</a:t>
                </a:r>
              </a:p>
            </p:txBody>
          </p:sp>
        </p:grpSp>
      </p:grpSp>
      <p:pic>
        <p:nvPicPr>
          <p:cNvPr id="127" name="Graphic 126" descr="Ruit met effen opvulling">
            <a:extLst>
              <a:ext uri="{FF2B5EF4-FFF2-40B4-BE49-F238E27FC236}">
                <a16:creationId xmlns:a16="http://schemas.microsoft.com/office/drawing/2014/main" id="{68F92542-C754-A439-C6F7-271766616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8747" y="449431"/>
            <a:ext cx="144000" cy="144000"/>
          </a:xfrm>
          <a:prstGeom prst="rect">
            <a:avLst/>
          </a:prstGeom>
        </p:spPr>
      </p:pic>
      <p:pic>
        <p:nvPicPr>
          <p:cNvPr id="129" name="Graphic 128" descr="Aspiratie met effen opvulling">
            <a:extLst>
              <a:ext uri="{FF2B5EF4-FFF2-40B4-BE49-F238E27FC236}">
                <a16:creationId xmlns:a16="http://schemas.microsoft.com/office/drawing/2014/main" id="{23D6CCE5-ABCD-C39D-C229-EACA173995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370" y="626313"/>
            <a:ext cx="144000" cy="144000"/>
          </a:xfrm>
          <a:prstGeom prst="rect">
            <a:avLst/>
          </a:prstGeom>
        </p:spPr>
      </p:pic>
      <p:pic>
        <p:nvPicPr>
          <p:cNvPr id="131" name="Graphic 130" descr="Microscoop met effen opvulling">
            <a:extLst>
              <a:ext uri="{FF2B5EF4-FFF2-40B4-BE49-F238E27FC236}">
                <a16:creationId xmlns:a16="http://schemas.microsoft.com/office/drawing/2014/main" id="{F3AE90AA-BD3E-6A92-EA51-4CC9444BAD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370" y="224161"/>
            <a:ext cx="144000" cy="144000"/>
          </a:xfrm>
          <a:prstGeom prst="rect">
            <a:avLst/>
          </a:prstGeom>
        </p:spPr>
      </p:pic>
      <p:pic>
        <p:nvPicPr>
          <p:cNvPr id="135" name="Graphic 134" descr="Studentenbaret bij afstuderen met effen opvulling">
            <a:extLst>
              <a:ext uri="{FF2B5EF4-FFF2-40B4-BE49-F238E27FC236}">
                <a16:creationId xmlns:a16="http://schemas.microsoft.com/office/drawing/2014/main" id="{57C50B92-9DE6-D3E0-1E23-0545EDAE37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3690" y="38027"/>
            <a:ext cx="144000" cy="144000"/>
          </a:xfrm>
          <a:prstGeom prst="rect">
            <a:avLst/>
          </a:prstGeom>
        </p:spPr>
      </p:pic>
      <p:grpSp>
        <p:nvGrpSpPr>
          <p:cNvPr id="153" name="Groep 152">
            <a:extLst>
              <a:ext uri="{FF2B5EF4-FFF2-40B4-BE49-F238E27FC236}">
                <a16:creationId xmlns:a16="http://schemas.microsoft.com/office/drawing/2014/main" id="{7A753D7E-1D2E-B74F-8BDB-A8C02D4B027C}"/>
              </a:ext>
            </a:extLst>
          </p:cNvPr>
          <p:cNvGrpSpPr/>
          <p:nvPr/>
        </p:nvGrpSpPr>
        <p:grpSpPr>
          <a:xfrm>
            <a:off x="1358223" y="1980671"/>
            <a:ext cx="2368072" cy="1042039"/>
            <a:chOff x="1358223" y="3001022"/>
            <a:chExt cx="2368072" cy="1042039"/>
          </a:xfrm>
        </p:grpSpPr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E9547A8B-484D-6F4C-829D-082D23E19E1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FAADD93A-9A4A-8AF1-B72D-E0B4DEA88B8D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Trainingsaanbod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voor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inclusiviteit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en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sociale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veiligheid</a:t>
                </a:r>
                <a:r>
                  <a:rPr lang="en-US" sz="1100" dirty="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Aptos" panose="02110004020202020204"/>
                  </a:rPr>
                  <a:t>stimuleren</a:t>
                </a:r>
                <a:endParaRPr lang="nl-NL" sz="1100" dirty="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0DE939A4-2BF4-7525-7029-76B0770E2E3A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8" name="Rechthoek: afgeronde hoeken 27">
                  <a:extLst>
                    <a:ext uri="{FF2B5EF4-FFF2-40B4-BE49-F238E27FC236}">
                      <a16:creationId xmlns:a16="http://schemas.microsoft.com/office/drawing/2014/main" id="{CC110EDD-ECB8-85F9-3D3E-18F6124AD925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al 21">
                  <a:extLst>
                    <a:ext uri="{FF2B5EF4-FFF2-40B4-BE49-F238E27FC236}">
                      <a16:creationId xmlns:a16="http://schemas.microsoft.com/office/drawing/2014/main" id="{25F20E46-5C1A-4FAE-39AE-2FAC932A924C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al 22">
                  <a:extLst>
                    <a:ext uri="{FF2B5EF4-FFF2-40B4-BE49-F238E27FC236}">
                      <a16:creationId xmlns:a16="http://schemas.microsoft.com/office/drawing/2014/main" id="{FAF3A4D0-4CE0-6F2D-75F1-3CE934DC326B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al 23">
                  <a:extLst>
                    <a:ext uri="{FF2B5EF4-FFF2-40B4-BE49-F238E27FC236}">
                      <a16:creationId xmlns:a16="http://schemas.microsoft.com/office/drawing/2014/main" id="{51561A70-FCBC-D4EA-5E98-4C4C0E5D143A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6" name="Rechthoek: afgeronde hoeken 135">
              <a:extLst>
                <a:ext uri="{FF2B5EF4-FFF2-40B4-BE49-F238E27FC236}">
                  <a16:creationId xmlns:a16="http://schemas.microsoft.com/office/drawing/2014/main" id="{A8542777-813C-D6FC-1E2D-9D2A4940E9C0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pic>
        <p:nvPicPr>
          <p:cNvPr id="137" name="Graphic 136" descr="Microscoop met effen opvulling">
            <a:extLst>
              <a:ext uri="{FF2B5EF4-FFF2-40B4-BE49-F238E27FC236}">
                <a16:creationId xmlns:a16="http://schemas.microsoft.com/office/drawing/2014/main" id="{D3BB5394-A439-598E-F71A-852802F5A6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8223" y="873958"/>
            <a:ext cx="144000" cy="144000"/>
          </a:xfrm>
          <a:prstGeom prst="rect">
            <a:avLst/>
          </a:prstGeom>
        </p:spPr>
      </p:pic>
      <p:pic>
        <p:nvPicPr>
          <p:cNvPr id="138" name="Graphic 137" descr="Studentenbaret bij afstuderen met effen opvulling">
            <a:extLst>
              <a:ext uri="{FF2B5EF4-FFF2-40B4-BE49-F238E27FC236}">
                <a16:creationId xmlns:a16="http://schemas.microsoft.com/office/drawing/2014/main" id="{A53DE8AB-1FF4-FD77-B521-C594E74EB9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7396" y="891961"/>
            <a:ext cx="144000" cy="144000"/>
          </a:xfrm>
          <a:prstGeom prst="rect">
            <a:avLst/>
          </a:prstGeom>
        </p:spPr>
      </p:pic>
      <p:pic>
        <p:nvPicPr>
          <p:cNvPr id="139" name="Graphic 138" descr="Studentenbaret bij afstuderen met effen opvulling">
            <a:extLst>
              <a:ext uri="{FF2B5EF4-FFF2-40B4-BE49-F238E27FC236}">
                <a16:creationId xmlns:a16="http://schemas.microsoft.com/office/drawing/2014/main" id="{F0A8660C-8D55-2EC0-79D5-3DCE5A5BE4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96569" y="907632"/>
            <a:ext cx="144000" cy="144000"/>
          </a:xfrm>
          <a:prstGeom prst="rect">
            <a:avLst/>
          </a:prstGeom>
        </p:spPr>
      </p:pic>
      <p:pic>
        <p:nvPicPr>
          <p:cNvPr id="140" name="Graphic 139" descr="Aspiratie met effen opvulling">
            <a:extLst>
              <a:ext uri="{FF2B5EF4-FFF2-40B4-BE49-F238E27FC236}">
                <a16:creationId xmlns:a16="http://schemas.microsoft.com/office/drawing/2014/main" id="{2B36F2FD-BF45-9B24-0C12-37216189B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569" y="907632"/>
            <a:ext cx="144000" cy="144000"/>
          </a:xfrm>
          <a:prstGeom prst="rect">
            <a:avLst/>
          </a:prstGeom>
        </p:spPr>
      </p:pic>
      <p:grpSp>
        <p:nvGrpSpPr>
          <p:cNvPr id="154" name="Groep 153">
            <a:extLst>
              <a:ext uri="{FF2B5EF4-FFF2-40B4-BE49-F238E27FC236}">
                <a16:creationId xmlns:a16="http://schemas.microsoft.com/office/drawing/2014/main" id="{F6D9B823-5BC6-B551-512A-3FBAC58D3471}"/>
              </a:ext>
            </a:extLst>
          </p:cNvPr>
          <p:cNvGrpSpPr/>
          <p:nvPr/>
        </p:nvGrpSpPr>
        <p:grpSpPr>
          <a:xfrm>
            <a:off x="1355753" y="3157530"/>
            <a:ext cx="2368072" cy="1042039"/>
            <a:chOff x="1358223" y="3001022"/>
            <a:chExt cx="2368072" cy="1042039"/>
          </a:xfrm>
        </p:grpSpPr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F0FF5B4C-969A-EF3D-2FF8-4C05039A2703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57" name="Rechthoek: afgeronde hoeken 156">
                <a:extLst>
                  <a:ext uri="{FF2B5EF4-FFF2-40B4-BE49-F238E27FC236}">
                    <a16:creationId xmlns:a16="http://schemas.microsoft.com/office/drawing/2014/main" id="{E0BC44F0-0294-F83D-8607-60299CA254C8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Inrichten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van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werving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en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goede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ondersteuning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voor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participatiemedewerkers</a:t>
                </a:r>
                <a:r>
                  <a:rPr lang="en-US" sz="1100">
                    <a:solidFill>
                      <a:schemeClr val="tx1"/>
                    </a:solidFill>
                    <a:latin typeface="Aptos" panose="02110004020202020204"/>
                  </a:rPr>
                  <a:t> en </a:t>
                </a:r>
                <a:r>
                  <a:rPr lang="en-US" sz="1100" err="1">
                    <a:solidFill>
                      <a:schemeClr val="tx1"/>
                    </a:solidFill>
                    <a:latin typeface="Aptos" panose="02110004020202020204"/>
                  </a:rPr>
                  <a:t>leidinggevende</a:t>
                </a:r>
                <a:endParaRPr lang="nl-NL" sz="1100">
                  <a:solidFill>
                    <a:schemeClr val="tx1"/>
                  </a:solidFill>
                  <a:latin typeface="Aptos" panose="02110004020202020204"/>
                </a:endParaRPr>
              </a:p>
            </p:txBody>
          </p:sp>
          <p:grpSp>
            <p:nvGrpSpPr>
              <p:cNvPr id="158" name="Groep 157">
                <a:extLst>
                  <a:ext uri="{FF2B5EF4-FFF2-40B4-BE49-F238E27FC236}">
                    <a16:creationId xmlns:a16="http://schemas.microsoft.com/office/drawing/2014/main" id="{82EAE6B4-DD9C-21B9-3281-68B669BEFAFA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59" name="Rechthoek: afgeronde hoeken 158">
                  <a:extLst>
                    <a:ext uri="{FF2B5EF4-FFF2-40B4-BE49-F238E27FC236}">
                      <a16:creationId xmlns:a16="http://schemas.microsoft.com/office/drawing/2014/main" id="{2E75CD28-CCE1-0524-BAF8-7001980595C3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al 159">
                  <a:extLst>
                    <a:ext uri="{FF2B5EF4-FFF2-40B4-BE49-F238E27FC236}">
                      <a16:creationId xmlns:a16="http://schemas.microsoft.com/office/drawing/2014/main" id="{63F00758-21E9-143E-5F5B-D09B7178E79D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Ovaal 160">
                  <a:extLst>
                    <a:ext uri="{FF2B5EF4-FFF2-40B4-BE49-F238E27FC236}">
                      <a16:creationId xmlns:a16="http://schemas.microsoft.com/office/drawing/2014/main" id="{1648D5EC-BFCE-9A5E-1793-3B5E6E65FC9B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al 161">
                  <a:extLst>
                    <a:ext uri="{FF2B5EF4-FFF2-40B4-BE49-F238E27FC236}">
                      <a16:creationId xmlns:a16="http://schemas.microsoft.com/office/drawing/2014/main" id="{4E37EABF-C2CE-90DC-795E-1776ADA597E8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6" name="Rechthoek: afgeronde hoeken 155">
              <a:extLst>
                <a:ext uri="{FF2B5EF4-FFF2-40B4-BE49-F238E27FC236}">
                  <a16:creationId xmlns:a16="http://schemas.microsoft.com/office/drawing/2014/main" id="{3CC0F544-04F1-2672-FAE9-1B5C56746FDF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 Werkgroep Participatie </a:t>
              </a:r>
              <a:r>
                <a:rPr lang="nl-NL" sz="800" err="1">
                  <a:solidFill>
                    <a:schemeClr val="tx1"/>
                  </a:solidFill>
                  <a:latin typeface="Aptos" panose="02110004020202020204"/>
                </a:rPr>
                <a:t>ism</a:t>
              </a: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 HRM</a:t>
              </a:r>
            </a:p>
          </p:txBody>
        </p:sp>
      </p:grpSp>
      <p:grpSp>
        <p:nvGrpSpPr>
          <p:cNvPr id="167" name="Groep 166">
            <a:extLst>
              <a:ext uri="{FF2B5EF4-FFF2-40B4-BE49-F238E27FC236}">
                <a16:creationId xmlns:a16="http://schemas.microsoft.com/office/drawing/2014/main" id="{0D444B87-6872-20F8-91BC-58E61758CB59}"/>
              </a:ext>
            </a:extLst>
          </p:cNvPr>
          <p:cNvGrpSpPr/>
          <p:nvPr/>
        </p:nvGrpSpPr>
        <p:grpSpPr>
          <a:xfrm>
            <a:off x="4054329" y="1980671"/>
            <a:ext cx="2368072" cy="1042039"/>
            <a:chOff x="1358223" y="3001022"/>
            <a:chExt cx="2368072" cy="1042039"/>
          </a:xfrm>
        </p:grpSpPr>
        <p:grpSp>
          <p:nvGrpSpPr>
            <p:cNvPr id="168" name="Groep 167">
              <a:extLst>
                <a:ext uri="{FF2B5EF4-FFF2-40B4-BE49-F238E27FC236}">
                  <a16:creationId xmlns:a16="http://schemas.microsoft.com/office/drawing/2014/main" id="{B3B1E6E1-5656-6C32-D4B2-A018F0E8A1C5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0" name="Rechthoek: afgeronde hoeken 169">
                <a:extLst>
                  <a:ext uri="{FF2B5EF4-FFF2-40B4-BE49-F238E27FC236}">
                    <a16:creationId xmlns:a16="http://schemas.microsoft.com/office/drawing/2014/main" id="{792058F7-C0C5-EE85-7818-14130D6EFFA7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73E50B24-C8AA-C89B-6547-FCA709461DB5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72" name="Rechthoek: afgeronde hoeken 171">
                  <a:extLst>
                    <a:ext uri="{FF2B5EF4-FFF2-40B4-BE49-F238E27FC236}">
                      <a16:creationId xmlns:a16="http://schemas.microsoft.com/office/drawing/2014/main" id="{9F56C4D9-D4F5-3967-00B5-622C69A9ED5B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Ovaal 172">
                  <a:extLst>
                    <a:ext uri="{FF2B5EF4-FFF2-40B4-BE49-F238E27FC236}">
                      <a16:creationId xmlns:a16="http://schemas.microsoft.com/office/drawing/2014/main" id="{4B44F76F-D4C6-FADE-BD23-BF4B308B7E4E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al 173">
                  <a:extLst>
                    <a:ext uri="{FF2B5EF4-FFF2-40B4-BE49-F238E27FC236}">
                      <a16:creationId xmlns:a16="http://schemas.microsoft.com/office/drawing/2014/main" id="{D0D2CE32-AF37-AD12-F397-3774CFC1E446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Ovaal 174">
                  <a:extLst>
                    <a:ext uri="{FF2B5EF4-FFF2-40B4-BE49-F238E27FC236}">
                      <a16:creationId xmlns:a16="http://schemas.microsoft.com/office/drawing/2014/main" id="{0D654CAA-2D7C-C1A8-706F-2BDE09B09B14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9" name="Rechthoek: afgeronde hoeken 168">
              <a:extLst>
                <a:ext uri="{FF2B5EF4-FFF2-40B4-BE49-F238E27FC236}">
                  <a16:creationId xmlns:a16="http://schemas.microsoft.com/office/drawing/2014/main" id="{46895E12-8B37-E803-1FC1-F271F9F6E026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76" name="Groep 175">
            <a:extLst>
              <a:ext uri="{FF2B5EF4-FFF2-40B4-BE49-F238E27FC236}">
                <a16:creationId xmlns:a16="http://schemas.microsoft.com/office/drawing/2014/main" id="{AB4AEF46-CEF0-7C26-0FC4-2BA47FC793B2}"/>
              </a:ext>
            </a:extLst>
          </p:cNvPr>
          <p:cNvGrpSpPr/>
          <p:nvPr/>
        </p:nvGrpSpPr>
        <p:grpSpPr>
          <a:xfrm>
            <a:off x="4051859" y="3157530"/>
            <a:ext cx="2368072" cy="1042039"/>
            <a:chOff x="1358223" y="3001022"/>
            <a:chExt cx="2368072" cy="1042039"/>
          </a:xfrm>
        </p:grpSpPr>
        <p:grpSp>
          <p:nvGrpSpPr>
            <p:cNvPr id="177" name="Groep 176">
              <a:extLst>
                <a:ext uri="{FF2B5EF4-FFF2-40B4-BE49-F238E27FC236}">
                  <a16:creationId xmlns:a16="http://schemas.microsoft.com/office/drawing/2014/main" id="{48CC37C5-A654-E758-D512-3E52A8824ED9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79" name="Rechthoek: afgeronde hoeken 178">
                <a:extLst>
                  <a:ext uri="{FF2B5EF4-FFF2-40B4-BE49-F238E27FC236}">
                    <a16:creationId xmlns:a16="http://schemas.microsoft.com/office/drawing/2014/main" id="{3E689EBA-122A-F6F4-527E-293AF904DA93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80" name="Groep 179">
                <a:extLst>
                  <a:ext uri="{FF2B5EF4-FFF2-40B4-BE49-F238E27FC236}">
                    <a16:creationId xmlns:a16="http://schemas.microsoft.com/office/drawing/2014/main" id="{610B0945-AE6B-B3F0-C7E1-F6C51361DF0B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81" name="Rechthoek: afgeronde hoeken 180">
                  <a:extLst>
                    <a:ext uri="{FF2B5EF4-FFF2-40B4-BE49-F238E27FC236}">
                      <a16:creationId xmlns:a16="http://schemas.microsoft.com/office/drawing/2014/main" id="{B3C57338-CFB8-1D54-BE40-CC77EC9B4136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Ovaal 181">
                  <a:extLst>
                    <a:ext uri="{FF2B5EF4-FFF2-40B4-BE49-F238E27FC236}">
                      <a16:creationId xmlns:a16="http://schemas.microsoft.com/office/drawing/2014/main" id="{5B3E09B0-71E9-A925-0882-4502CF2AC7EF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Ovaal 182">
                  <a:extLst>
                    <a:ext uri="{FF2B5EF4-FFF2-40B4-BE49-F238E27FC236}">
                      <a16:creationId xmlns:a16="http://schemas.microsoft.com/office/drawing/2014/main" id="{405447FC-281C-64EA-F705-FF099839AC60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al 183">
                  <a:extLst>
                    <a:ext uri="{FF2B5EF4-FFF2-40B4-BE49-F238E27FC236}">
                      <a16:creationId xmlns:a16="http://schemas.microsoft.com/office/drawing/2014/main" id="{42494B74-BF0C-A26E-C68C-443A327F20E3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Rechthoek: afgeronde hoeken 177">
              <a:extLst>
                <a:ext uri="{FF2B5EF4-FFF2-40B4-BE49-F238E27FC236}">
                  <a16:creationId xmlns:a16="http://schemas.microsoft.com/office/drawing/2014/main" id="{A08ABCF5-E7B9-3A6F-FA95-A89377493A38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85" name="Groep 184">
            <a:extLst>
              <a:ext uri="{FF2B5EF4-FFF2-40B4-BE49-F238E27FC236}">
                <a16:creationId xmlns:a16="http://schemas.microsoft.com/office/drawing/2014/main" id="{D1F087F5-B442-0AB0-F2B8-4B2A51C77F84}"/>
              </a:ext>
            </a:extLst>
          </p:cNvPr>
          <p:cNvGrpSpPr/>
          <p:nvPr/>
        </p:nvGrpSpPr>
        <p:grpSpPr>
          <a:xfrm>
            <a:off x="6706007" y="1980671"/>
            <a:ext cx="2368072" cy="1042039"/>
            <a:chOff x="1358223" y="3001022"/>
            <a:chExt cx="2368072" cy="1042039"/>
          </a:xfrm>
        </p:grpSpPr>
        <p:grpSp>
          <p:nvGrpSpPr>
            <p:cNvPr id="186" name="Groep 185">
              <a:extLst>
                <a:ext uri="{FF2B5EF4-FFF2-40B4-BE49-F238E27FC236}">
                  <a16:creationId xmlns:a16="http://schemas.microsoft.com/office/drawing/2014/main" id="{DADEFE9D-3CD0-16FF-2584-067A50493FB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88" name="Rechthoek: afgeronde hoeken 187">
                <a:extLst>
                  <a:ext uri="{FF2B5EF4-FFF2-40B4-BE49-F238E27FC236}">
                    <a16:creationId xmlns:a16="http://schemas.microsoft.com/office/drawing/2014/main" id="{00E94B3E-C3FA-3CBF-D9C6-690810E2FCFC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F23E95B6-E9BB-E45E-21DF-647A2C8E036E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0" name="Rechthoek: afgeronde hoeken 189">
                  <a:extLst>
                    <a:ext uri="{FF2B5EF4-FFF2-40B4-BE49-F238E27FC236}">
                      <a16:creationId xmlns:a16="http://schemas.microsoft.com/office/drawing/2014/main" id="{F9EA714B-360E-5BDD-44B0-CD7D06F57992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Ovaal 190">
                  <a:extLst>
                    <a:ext uri="{FF2B5EF4-FFF2-40B4-BE49-F238E27FC236}">
                      <a16:creationId xmlns:a16="http://schemas.microsoft.com/office/drawing/2014/main" id="{E74BDC28-BE23-4856-2BD4-4543421D2399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Ovaal 191">
                  <a:extLst>
                    <a:ext uri="{FF2B5EF4-FFF2-40B4-BE49-F238E27FC236}">
                      <a16:creationId xmlns:a16="http://schemas.microsoft.com/office/drawing/2014/main" id="{7CE6FBA0-76ED-D745-71DA-2D647E145CF3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al 192">
                  <a:extLst>
                    <a:ext uri="{FF2B5EF4-FFF2-40B4-BE49-F238E27FC236}">
                      <a16:creationId xmlns:a16="http://schemas.microsoft.com/office/drawing/2014/main" id="{92EB03B3-D656-0DF0-5CAD-3A34C52FC5BB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7" name="Rechthoek: afgeronde hoeken 186">
              <a:extLst>
                <a:ext uri="{FF2B5EF4-FFF2-40B4-BE49-F238E27FC236}">
                  <a16:creationId xmlns:a16="http://schemas.microsoft.com/office/drawing/2014/main" id="{762C49D2-3140-838E-8EFA-783394B2DBCC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194" name="Groep 193">
            <a:extLst>
              <a:ext uri="{FF2B5EF4-FFF2-40B4-BE49-F238E27FC236}">
                <a16:creationId xmlns:a16="http://schemas.microsoft.com/office/drawing/2014/main" id="{CDE92F58-B8C2-34D1-8F54-2C15983C328F}"/>
              </a:ext>
            </a:extLst>
          </p:cNvPr>
          <p:cNvGrpSpPr/>
          <p:nvPr/>
        </p:nvGrpSpPr>
        <p:grpSpPr>
          <a:xfrm>
            <a:off x="6703537" y="3157530"/>
            <a:ext cx="2368072" cy="1042039"/>
            <a:chOff x="1358223" y="3001022"/>
            <a:chExt cx="2368072" cy="1042039"/>
          </a:xfrm>
        </p:grpSpPr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6B5517DA-A31D-3BF1-8C38-89DD21ACF50B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197" name="Rechthoek: afgeronde hoeken 196">
                <a:extLst>
                  <a:ext uri="{FF2B5EF4-FFF2-40B4-BE49-F238E27FC236}">
                    <a16:creationId xmlns:a16="http://schemas.microsoft.com/office/drawing/2014/main" id="{44CB636A-2B94-08CE-008E-9CAD0CA25841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721437E9-D0A0-6840-852A-20F6A128C8E1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199" name="Rechthoek: afgeronde hoeken 198">
                  <a:extLst>
                    <a:ext uri="{FF2B5EF4-FFF2-40B4-BE49-F238E27FC236}">
                      <a16:creationId xmlns:a16="http://schemas.microsoft.com/office/drawing/2014/main" id="{FF994285-30E9-D77D-92ED-E23E7D29CF44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Ovaal 199">
                  <a:extLst>
                    <a:ext uri="{FF2B5EF4-FFF2-40B4-BE49-F238E27FC236}">
                      <a16:creationId xmlns:a16="http://schemas.microsoft.com/office/drawing/2014/main" id="{C83AD302-61EF-D34C-D582-D5C1EF0CDD3D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Ovaal 200">
                  <a:extLst>
                    <a:ext uri="{FF2B5EF4-FFF2-40B4-BE49-F238E27FC236}">
                      <a16:creationId xmlns:a16="http://schemas.microsoft.com/office/drawing/2014/main" id="{218950CC-5483-C8D9-6634-DA2E48F07B65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Ovaal 201">
                  <a:extLst>
                    <a:ext uri="{FF2B5EF4-FFF2-40B4-BE49-F238E27FC236}">
                      <a16:creationId xmlns:a16="http://schemas.microsoft.com/office/drawing/2014/main" id="{AF5CB355-4A11-8751-6DA4-3481BFEDFE0B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id="{DA6E10A8-4960-51D3-6BEE-8B767A71A07B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  <p:grpSp>
        <p:nvGrpSpPr>
          <p:cNvPr id="203" name="Groep 202">
            <a:extLst>
              <a:ext uri="{FF2B5EF4-FFF2-40B4-BE49-F238E27FC236}">
                <a16:creationId xmlns:a16="http://schemas.microsoft.com/office/drawing/2014/main" id="{4106A680-CF52-5200-DDAE-F4F32428FCD3}"/>
              </a:ext>
            </a:extLst>
          </p:cNvPr>
          <p:cNvGrpSpPr/>
          <p:nvPr/>
        </p:nvGrpSpPr>
        <p:grpSpPr>
          <a:xfrm>
            <a:off x="9377654" y="1981028"/>
            <a:ext cx="2368072" cy="1042039"/>
            <a:chOff x="1358223" y="3001022"/>
            <a:chExt cx="2368072" cy="1042039"/>
          </a:xfrm>
        </p:grpSpPr>
        <p:grpSp>
          <p:nvGrpSpPr>
            <p:cNvPr id="204" name="Groep 203">
              <a:extLst>
                <a:ext uri="{FF2B5EF4-FFF2-40B4-BE49-F238E27FC236}">
                  <a16:creationId xmlns:a16="http://schemas.microsoft.com/office/drawing/2014/main" id="{76C6F100-C405-5EE6-0F75-456382A78DBD}"/>
                </a:ext>
              </a:extLst>
            </p:cNvPr>
            <p:cNvGrpSpPr/>
            <p:nvPr/>
          </p:nvGrpSpPr>
          <p:grpSpPr>
            <a:xfrm>
              <a:off x="1358224" y="3001022"/>
              <a:ext cx="2368071" cy="805558"/>
              <a:chOff x="2853153" y="3218750"/>
              <a:chExt cx="2368071" cy="805558"/>
            </a:xfrm>
          </p:grpSpPr>
          <p:sp>
            <p:nvSpPr>
              <p:cNvPr id="206" name="Rechthoek: afgeronde hoeken 205">
                <a:extLst>
                  <a:ext uri="{FF2B5EF4-FFF2-40B4-BE49-F238E27FC236}">
                    <a16:creationId xmlns:a16="http://schemas.microsoft.com/office/drawing/2014/main" id="{7C275CAB-FC3E-A2CC-E1CD-6357A9EC3F8E}"/>
                  </a:ext>
                </a:extLst>
              </p:cNvPr>
              <p:cNvSpPr/>
              <p:nvPr/>
            </p:nvSpPr>
            <p:spPr>
              <a:xfrm>
                <a:off x="2853153" y="3218750"/>
                <a:ext cx="2024836" cy="805558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l-NL" sz="1100">
                    <a:solidFill>
                      <a:schemeClr val="tx1"/>
                    </a:solidFill>
                    <a:latin typeface="Aptos" panose="02110004020202020204"/>
                  </a:rPr>
                  <a:t>…</a:t>
                </a:r>
              </a:p>
            </p:txBody>
          </p:sp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id="{3E0DB7BF-4C40-E495-C70F-ACDF77CFBEF5}"/>
                  </a:ext>
                </a:extLst>
              </p:cNvPr>
              <p:cNvGrpSpPr/>
              <p:nvPr/>
            </p:nvGrpSpPr>
            <p:grpSpPr>
              <a:xfrm>
                <a:off x="4817713" y="3218750"/>
                <a:ext cx="403511" cy="805558"/>
                <a:chOff x="4863433" y="3218750"/>
                <a:chExt cx="403511" cy="805558"/>
              </a:xfrm>
            </p:grpSpPr>
            <p:sp>
              <p:nvSpPr>
                <p:cNvPr id="208" name="Rechthoek: afgeronde hoeken 207">
                  <a:extLst>
                    <a:ext uri="{FF2B5EF4-FFF2-40B4-BE49-F238E27FC236}">
                      <a16:creationId xmlns:a16="http://schemas.microsoft.com/office/drawing/2014/main" id="{4D7F2782-FF04-E410-7A4D-7BBD09549E88}"/>
                    </a:ext>
                  </a:extLst>
                </p:cNvPr>
                <p:cNvSpPr/>
                <p:nvPr/>
              </p:nvSpPr>
              <p:spPr>
                <a:xfrm>
                  <a:off x="4863433" y="3218750"/>
                  <a:ext cx="403511" cy="805558"/>
                </a:xfrm>
                <a:prstGeom prst="roundRect">
                  <a:avLst>
                    <a:gd name="adj" fmla="val 7953"/>
                  </a:avLst>
                </a:prstGeom>
                <a:solidFill>
                  <a:schemeClr val="bg2"/>
                </a:solidFill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Ovaal 208">
                  <a:extLst>
                    <a:ext uri="{FF2B5EF4-FFF2-40B4-BE49-F238E27FC236}">
                      <a16:creationId xmlns:a16="http://schemas.microsoft.com/office/drawing/2014/main" id="{1CE89ED6-E559-B5FF-6DC2-6C9FE9B107F9}"/>
                    </a:ext>
                  </a:extLst>
                </p:cNvPr>
                <p:cNvSpPr/>
                <p:nvPr/>
              </p:nvSpPr>
              <p:spPr>
                <a:xfrm>
                  <a:off x="4993188" y="3554266"/>
                  <a:ext cx="144000" cy="1440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al 209">
                  <a:extLst>
                    <a:ext uri="{FF2B5EF4-FFF2-40B4-BE49-F238E27FC236}">
                      <a16:creationId xmlns:a16="http://schemas.microsoft.com/office/drawing/2014/main" id="{5CFD946C-A570-B091-A629-C077E838D1E9}"/>
                    </a:ext>
                  </a:extLst>
                </p:cNvPr>
                <p:cNvSpPr/>
                <p:nvPr/>
              </p:nvSpPr>
              <p:spPr>
                <a:xfrm>
                  <a:off x="4993188" y="3814812"/>
                  <a:ext cx="144000" cy="14400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Ovaal 210">
                  <a:extLst>
                    <a:ext uri="{FF2B5EF4-FFF2-40B4-BE49-F238E27FC236}">
                      <a16:creationId xmlns:a16="http://schemas.microsoft.com/office/drawing/2014/main" id="{7CE68790-9B4D-8F29-4574-ABD748CCBAFC}"/>
                    </a:ext>
                  </a:extLst>
                </p:cNvPr>
                <p:cNvSpPr/>
                <p:nvPr/>
              </p:nvSpPr>
              <p:spPr>
                <a:xfrm>
                  <a:off x="4993188" y="3293719"/>
                  <a:ext cx="144000" cy="144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77B3"/>
                    </a:solidFill>
                    <a:effectLst/>
                    <a:uLnTx/>
                    <a:uFillTx/>
                    <a:latin typeface="Aptos" panose="021100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5" name="Rechthoek: afgeronde hoeken 204">
              <a:extLst>
                <a:ext uri="{FF2B5EF4-FFF2-40B4-BE49-F238E27FC236}">
                  <a16:creationId xmlns:a16="http://schemas.microsoft.com/office/drawing/2014/main" id="{791A5D11-DF0E-B738-DC8B-AE333886ED17}"/>
                </a:ext>
              </a:extLst>
            </p:cNvPr>
            <p:cNvSpPr/>
            <p:nvPr/>
          </p:nvSpPr>
          <p:spPr>
            <a:xfrm>
              <a:off x="1358223" y="3803424"/>
              <a:ext cx="2368069" cy="239637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defRPr/>
              </a:pPr>
              <a:r>
                <a:rPr lang="nl-NL" sz="800">
                  <a:solidFill>
                    <a:schemeClr val="tx1"/>
                  </a:solidFill>
                  <a:latin typeface="Aptos" panose="02110004020202020204"/>
                </a:rPr>
                <a:t>Lead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2259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U layout">
  <a:themeElements>
    <a:clrScheme name="Custom 1">
      <a:dk1>
        <a:srgbClr val="000000"/>
      </a:dk1>
      <a:lt1>
        <a:srgbClr val="0077B3"/>
      </a:lt1>
      <a:dk2>
        <a:srgbClr val="0089CF"/>
      </a:dk2>
      <a:lt2>
        <a:srgbClr val="FFFFFF"/>
      </a:lt2>
      <a:accent1>
        <a:srgbClr val="66AFD4"/>
      </a:accent1>
      <a:accent2>
        <a:srgbClr val="E8692D"/>
      </a:accent2>
      <a:accent3>
        <a:srgbClr val="4FAF48"/>
      </a:accent3>
      <a:accent4>
        <a:srgbClr val="8E4DA4"/>
      </a:accent4>
      <a:accent5>
        <a:srgbClr val="0077B3"/>
      </a:accent5>
      <a:accent6>
        <a:srgbClr val="CC4100"/>
      </a:accent6>
      <a:hlink>
        <a:srgbClr val="0077B2"/>
      </a:hlink>
      <a:folHlink>
        <a:srgbClr val="3B21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  <a:effectLst>
          <a:outerShdw blurRad="254000" dist="127000" dir="2700000" algn="ctr" rotWithShape="0">
            <a:schemeClr val="tx1">
              <a:alpha val="5000"/>
            </a:schemeClr>
          </a:outerShdw>
        </a:effectLst>
      </a:spPr>
      <a:bodyPr wrap="square" lIns="0" tIns="0" rIns="0" bIns="0" rtlCol="0">
        <a:noAutofit/>
      </a:bodyPr>
      <a:lstStyle>
        <a:defPPr algn="l">
          <a:defRPr sz="1400" b="0" i="0" dirty="0" err="1" smtClean="0">
            <a:solidFill>
              <a:schemeClr val="tx1"/>
            </a:solidFill>
            <a:latin typeface="Aptos" panose="020B0004020202020204" pitchFamily="34" charset="0"/>
          </a:defRPr>
        </a:defPPr>
      </a:lstStyle>
    </a:txDef>
  </a:objectDefaults>
  <a:extraClrSchemeLst/>
  <a:custClrLst>
    <a:custClr name="VU blue">
      <a:srgbClr val="0077B3"/>
    </a:custClr>
    <a:custClr name="Orange-red">
      <a:srgbClr val="CC4100"/>
    </a:custClr>
    <a:custClr name="Green">
      <a:srgbClr val="008053"/>
    </a:custClr>
    <a:custClr name="Purple">
      <a:srgbClr val="3B2171"/>
    </a:custClr>
    <a:custClr name="VU Blue Secundary">
      <a:srgbClr val="66AFD4"/>
    </a:custClr>
    <a:custClr name="VU Red Secundary">
      <a:srgbClr val="E8692D"/>
    </a:custClr>
    <a:custClr name="VU Green Secundary">
      <a:srgbClr val="4FAF48"/>
    </a:custClr>
    <a:custClr name="VU Purple Secundary">
      <a:srgbClr val="8E4DA4"/>
    </a:custClr>
    <a:custClr name="VU Yellow Extra">
      <a:srgbClr val="F3BA30"/>
    </a:custClr>
    <a:custClr name="VU Blue Extra">
      <a:srgbClr val="005690"/>
    </a:custClr>
    <a:custClr name="VU Blue Tertiary">
      <a:srgbClr val="DFF2FD"/>
    </a:custClr>
    <a:custClr name="VU Red Tertiary">
      <a:srgbClr val="FCD3B6"/>
    </a:custClr>
    <a:custClr name="VU Green Tertiary">
      <a:srgbClr val="EBF0C6"/>
    </a:custClr>
    <a:custClr name="VU Purple Tertiary">
      <a:srgbClr val="DDC6EE"/>
    </a:custClr>
    <a:custClr name="VU Grey 1">
      <a:srgbClr val="FAF7F5"/>
    </a:custClr>
    <a:custClr name="VU Grey 2">
      <a:srgbClr val="F2EFED"/>
    </a:custClr>
    <a:custClr name="VU Grey 3">
      <a:srgbClr val="D8D3D0"/>
    </a:custClr>
    <a:custClr name="VU Grey 4">
      <a:srgbClr val="333333"/>
    </a:custClr>
  </a:custClrLst>
  <a:extLst>
    <a:ext uri="{05A4C25C-085E-4340-85A3-A5531E510DB2}">
      <thm15:themeFamily xmlns:thm15="http://schemas.microsoft.com/office/thememl/2012/main" name="2078488-VU-PowerPoint template Febr 2025" id="{B0AD4260-91EA-3C4A-A955-6740BBAC8EBD}" vid="{86B91D62-FBF5-294E-B3D6-AEA7A24B9A27}"/>
    </a:ext>
  </a:extLst>
</a:theme>
</file>

<file path=ppt/theme/theme2.xml><?xml version="1.0" encoding="utf-8"?>
<a:theme xmlns:a="http://schemas.openxmlformats.org/drawingml/2006/main" name="Movares template set">
  <a:themeElements>
    <a:clrScheme name="Movares">
      <a:dk1>
        <a:srgbClr val="17443A"/>
      </a:dk1>
      <a:lt1>
        <a:srgbClr val="54554C"/>
      </a:lt1>
      <a:dk2>
        <a:srgbClr val="ED6A53"/>
      </a:dk2>
      <a:lt2>
        <a:srgbClr val="B3C2AF"/>
      </a:lt2>
      <a:accent1>
        <a:srgbClr val="BEE2E9"/>
      </a:accent1>
      <a:accent2>
        <a:srgbClr val="F3DECE"/>
      </a:accent2>
      <a:accent3>
        <a:srgbClr val="17443A"/>
      </a:accent3>
      <a:accent4>
        <a:srgbClr val="54554C"/>
      </a:accent4>
      <a:accent5>
        <a:srgbClr val="B3C2AF"/>
      </a:accent5>
      <a:accent6>
        <a:srgbClr val="ED6A53"/>
      </a:accent6>
      <a:hlink>
        <a:srgbClr val="F3DECE"/>
      </a:hlink>
      <a:folHlink>
        <a:srgbClr val="17443A"/>
      </a:folHlink>
    </a:clrScheme>
    <a:fontScheme name="Movares">
      <a:majorFont>
        <a:latin typeface="Aptos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lnSpc>
            <a:spcPct val="90000"/>
          </a:lnSpc>
          <a:spcBef>
            <a:spcPts val="200"/>
          </a:spcBef>
          <a:spcAft>
            <a:spcPts val="2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accent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78488-VU-PowerPoint template Febr 2025" id="{B0AD4260-91EA-3C4A-A955-6740BBAC8EBD}" vid="{3CDBB882-E744-1244-A1E6-798AC4CCED1C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ptos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ptos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B4C8856469E64CA888C38CD699B18C" ma:contentTypeVersion="3" ma:contentTypeDescription="Create a new document." ma:contentTypeScope="" ma:versionID="07cdfef2c7f7eaf5812d3d77bb3c3ca7">
  <xsd:schema xmlns:xsd="http://www.w3.org/2001/XMLSchema" xmlns:xs="http://www.w3.org/2001/XMLSchema" xmlns:p="http://schemas.microsoft.com/office/2006/metadata/properties" xmlns:ns2="77591015-4830-45d2-9071-5ffff0c4751d" targetNamespace="http://schemas.microsoft.com/office/2006/metadata/properties" ma:root="true" ma:fieldsID="99c394aaa70513abae816b45ea3aa68c" ns2:_="">
    <xsd:import namespace="77591015-4830-45d2-9071-5ffff0c475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91015-4830-45d2-9071-5ffff0c475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39880E-795E-4C74-B49E-15663A7050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CEBF59-07DD-4744-8927-92480880B0D0}">
  <ds:schemaRefs>
    <ds:schemaRef ds:uri="77591015-4830-45d2-9071-5ffff0c4751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37A46B8-10E8-47CB-BF04-6CD0C1668485}">
  <ds:schemaRefs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77591015-4830-45d2-9071-5ffff0c4751d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78488-VU-PowerPoint template Febr 2025</Template>
  <TotalTime>40</TotalTime>
  <Words>1499</Words>
  <Application>Microsoft Office PowerPoint</Application>
  <PresentationFormat>Aangepast</PresentationFormat>
  <Paragraphs>463</Paragraphs>
  <Slides>8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8" baseType="lpstr">
      <vt:lpstr>Calibri</vt:lpstr>
      <vt:lpstr>Aptos</vt:lpstr>
      <vt:lpstr>System Font Regular</vt:lpstr>
      <vt:lpstr>Corbel</vt:lpstr>
      <vt:lpstr>Segoe UI Light</vt:lpstr>
      <vt:lpstr>Arial</vt:lpstr>
      <vt:lpstr>Aptos Display</vt:lpstr>
      <vt:lpstr>VU layout</vt:lpstr>
      <vt:lpstr>Movares template set</vt:lpstr>
      <vt:lpstr>think-cell Slide</vt:lpstr>
      <vt:lpstr> IP implementatie: Bèta, Gezondheid &amp; Technologie  van rapportagecultuur naar dialoog- en resultaatcultuur</vt:lpstr>
      <vt:lpstr>Inhoud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Bouland, S.I.M. (Sophie)</dc:creator>
  <cp:keywords/>
  <dc:description/>
  <cp:lastModifiedBy>Bedaux, Q.M. (Quirien)</cp:lastModifiedBy>
  <cp:revision>2</cp:revision>
  <cp:lastPrinted>2025-10-09T12:18:43Z</cp:lastPrinted>
  <dcterms:created xsi:type="dcterms:W3CDTF">2025-04-08T12:45:41Z</dcterms:created>
  <dcterms:modified xsi:type="dcterms:W3CDTF">2025-12-08T12:18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B4C8856469E64CA888C38CD699B18C</vt:lpwstr>
  </property>
  <property fmtid="{D5CDD505-2E9C-101B-9397-08002B2CF9AE}" pid="3" name="Order">
    <vt:r8>100</vt:r8>
  </property>
  <property fmtid="{D5CDD505-2E9C-101B-9397-08002B2CF9AE}" pid="4" name="MediaServiceImageTags">
    <vt:lpwstr/>
  </property>
</Properties>
</file>